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4.xml" ContentType="application/vnd.openxmlformats-officedocument.presentationml.tags+xml"/>
  <Override PartName="/ppt/notesSlides/notesSlide18.xml" ContentType="application/vnd.openxmlformats-officedocument.presentationml.notesSlid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9"/>
  </p:notesMasterIdLst>
  <p:sldIdLst>
    <p:sldId id="386" r:id="rId2"/>
    <p:sldId id="582" r:id="rId3"/>
    <p:sldId id="456" r:id="rId4"/>
    <p:sldId id="545" r:id="rId5"/>
    <p:sldId id="457" r:id="rId6"/>
    <p:sldId id="360" r:id="rId7"/>
    <p:sldId id="366" r:id="rId8"/>
    <p:sldId id="367" r:id="rId9"/>
    <p:sldId id="368" r:id="rId10"/>
    <p:sldId id="294" r:id="rId11"/>
    <p:sldId id="556" r:id="rId12"/>
    <p:sldId id="548" r:id="rId13"/>
    <p:sldId id="579" r:id="rId14"/>
    <p:sldId id="578" r:id="rId15"/>
    <p:sldId id="577" r:id="rId16"/>
    <p:sldId id="458" r:id="rId17"/>
    <p:sldId id="459" r:id="rId18"/>
    <p:sldId id="345" r:id="rId19"/>
    <p:sldId id="303" r:id="rId20"/>
    <p:sldId id="338" r:id="rId21"/>
    <p:sldId id="450" r:id="rId22"/>
    <p:sldId id="460" r:id="rId23"/>
    <p:sldId id="510" r:id="rId24"/>
    <p:sldId id="270" r:id="rId25"/>
    <p:sldId id="299" r:id="rId26"/>
    <p:sldId id="581" r:id="rId27"/>
    <p:sldId id="305" r:id="rId28"/>
    <p:sldId id="306" r:id="rId29"/>
    <p:sldId id="317" r:id="rId30"/>
    <p:sldId id="511" r:id="rId31"/>
    <p:sldId id="543" r:id="rId32"/>
    <p:sldId id="512" r:id="rId33"/>
    <p:sldId id="513" r:id="rId34"/>
    <p:sldId id="514" r:id="rId35"/>
    <p:sldId id="528" r:id="rId36"/>
    <p:sldId id="320" r:id="rId37"/>
    <p:sldId id="546" r:id="rId38"/>
    <p:sldId id="291" r:id="rId39"/>
    <p:sldId id="272" r:id="rId40"/>
    <p:sldId id="274" r:id="rId41"/>
    <p:sldId id="369" r:id="rId42"/>
    <p:sldId id="355" r:id="rId43"/>
    <p:sldId id="353" r:id="rId44"/>
    <p:sldId id="354" r:id="rId45"/>
    <p:sldId id="322" r:id="rId46"/>
    <p:sldId id="321" r:id="rId47"/>
    <p:sldId id="549" r:id="rId48"/>
    <p:sldId id="552" r:id="rId49"/>
    <p:sldId id="550" r:id="rId50"/>
    <p:sldId id="551" r:id="rId51"/>
    <p:sldId id="565" r:id="rId52"/>
    <p:sldId id="553" r:id="rId53"/>
    <p:sldId id="564" r:id="rId54"/>
    <p:sldId id="554" r:id="rId55"/>
    <p:sldId id="558" r:id="rId56"/>
    <p:sldId id="559" r:id="rId57"/>
    <p:sldId id="566" r:id="rId58"/>
    <p:sldId id="343" r:id="rId59"/>
    <p:sldId id="560" r:id="rId60"/>
    <p:sldId id="567" r:id="rId61"/>
    <p:sldId id="359" r:id="rId62"/>
    <p:sldId id="344" r:id="rId63"/>
    <p:sldId id="562" r:id="rId64"/>
    <p:sldId id="381" r:id="rId65"/>
    <p:sldId id="570" r:id="rId66"/>
    <p:sldId id="383" r:id="rId67"/>
    <p:sldId id="263" r:id="rId68"/>
    <p:sldId id="358" r:id="rId69"/>
    <p:sldId id="572" r:id="rId70"/>
    <p:sldId id="316" r:id="rId71"/>
    <p:sldId id="573" r:id="rId72"/>
    <p:sldId id="571" r:id="rId73"/>
    <p:sldId id="574" r:id="rId74"/>
    <p:sldId id="266" r:id="rId75"/>
    <p:sldId id="557" r:id="rId76"/>
    <p:sldId id="280" r:id="rId77"/>
    <p:sldId id="569" r:id="rId78"/>
  </p:sldIdLst>
  <p:sldSz cx="12192000" cy="6858000"/>
  <p:notesSz cx="6858000" cy="9144000"/>
  <p:custDataLst>
    <p:tags r:id="rId8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5344"/>
    <a:srgbClr val="494996"/>
    <a:srgbClr val="333387"/>
    <a:srgbClr val="5079C1"/>
    <a:srgbClr val="37B6C4"/>
    <a:srgbClr val="718BFF"/>
    <a:srgbClr val="89C77A"/>
    <a:srgbClr val="7744C4"/>
    <a:srgbClr val="E9B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70"/>
    <p:restoredTop sz="91423"/>
  </p:normalViewPr>
  <p:slideViewPr>
    <p:cSldViewPr snapToGrid="0">
      <p:cViewPr varScale="1">
        <p:scale>
          <a:sx n="109" d="100"/>
          <a:sy n="109" d="100"/>
        </p:scale>
        <p:origin x="138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5" d="100"/>
        <a:sy n="13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ableStyles" Target="tableStyle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gs" Target="tags/tag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CE2D1-4B9C-0441-AC2C-4EC47951C1D5}" type="datetimeFigureOut">
              <a:rPr lang="en-US" smtClean="0"/>
              <a:t>9/2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FC1AA8-C84E-A04D-929A-FBFD841857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06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580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80130A-3EE5-DC89-18CD-3097B1689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D43D8-97D8-961E-470A-1E800CD327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563DCD-92F5-AD5F-9517-22213F8B2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F895C-4902-566C-81EF-257501B7B7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4299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SLIDE BEF ORE WITHOUT </a:t>
            </a:r>
            <a:r>
              <a:rPr lang="en-US" dirty="0" err="1"/>
              <a:t>X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3662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5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55562-8971-67EE-8208-BC5F70CC8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16EFD9-832B-5A52-065C-A0997A3B2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2C39D6-7165-9D57-BB03-74DE064DA2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D4230A-AC84-AC09-A14F-0EAA5904C6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673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xample: If we wanted to make a bar plot that shows how frequently each of the continents is represented in our dataset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3454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NFO ABOUT THE SILENT STAT=S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7653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MAGE OF DEFAULT COLOR SCA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2171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out col=contin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2422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2C6F8-97FA-5F9E-492D-D49511616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467903-BEA9-622B-2E60-0AF2A9BD96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3D03AE-1F59-642E-ADE7-9B824FCE50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554329-E19E-7900-3C35-5E3760AEF2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5297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 USING A HIGHLIGHT COL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480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offer workshops and individual consul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2639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4AC2F-DAE6-A77C-3DDE-3B18B61E8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244976-D2EA-523B-ADB1-4C2DAF1366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F1E517-DE63-BEE9-DD7C-5CA023B967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70685A-6ED3-96CD-EE6A-3740155680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572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22598-396D-E99A-3372-F57DB718B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EB6D2A-9643-76AA-DC64-B1FD5B2E8A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C9A420-BD69-653F-DA1B-14FE2FCB7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37791-46C5-B0E5-AA5C-F15CB3BFA3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130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amework that follows a layered approach constructing visualization. It allows us to </a:t>
            </a:r>
            <a:r>
              <a:rPr lang="en-US" dirty="0" err="1"/>
              <a:t>buid</a:t>
            </a:r>
            <a:r>
              <a:rPr lang="en-US" dirty="0"/>
              <a:t> visualizations in a structured and methodical way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851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ersatile – customize visual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ublication ready graphics </a:t>
            </a:r>
          </a:p>
          <a:p>
            <a:r>
              <a:rPr lang="en-US" sz="1200" dirty="0"/>
              <a:t>     (or at least pretty close to it)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ntegration with analysis in R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uccinct </a:t>
            </a:r>
          </a:p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873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spoke fig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5974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A99CF-C849-CFAA-5D19-AB62ADCF4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63EC8F-167B-CA62-7A46-3398473532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1EF0C1-3751-31C8-5288-A3F9DD6753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25618-9BC2-5C54-588B-7090D853DF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6728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74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78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F78B91-F44B-54D6-F179-AC6D9431C0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126999-BF2C-B8A6-6761-E9AA32F3E8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7CF0C-D4AD-0BD2-E72B-BF0734BEC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7368C-55B4-11A0-AF96-AEE9E36B8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42129-4F68-D807-F2B0-DD5A401E2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76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76184-9A5B-DAD6-A632-944A6A647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BACA3D-C01C-89F2-23E7-8A6ECF28E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25642-1E76-10C8-99BC-C89688A52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00F02E-38B4-35D8-7EB5-B5609BAC6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5B29B9-4151-41E0-BCE0-F50858F4C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6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97F8EB-A346-F0C3-6637-1BFE99E76C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FA26DA-D09C-387F-8137-A77AF48C7F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3AAB20-2883-D687-D807-D155B503A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B4FDB-0D9D-B5B4-C44A-C5B0A893B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4B206B-CB12-6E84-49D4-767B913F4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643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F4569-072D-CD1D-2BAF-41FACB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9DBEE-43EE-6BE6-4E7C-FD36B1EBEC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3F218-E031-F0ED-AA6C-1A4730C03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0D622-827B-00DA-F087-1288AAFC4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3E6D00-5F0C-B2DA-5750-DF02F7FAD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73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68FD2-C4BA-A925-79CF-B8A78151F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9F129-6131-2874-9AFE-D19E7C0623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72B4C-C88B-7A92-660A-92D6BE86E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26D878-79F4-6514-6CF3-CEA37D49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76A10-68F7-2FA7-E8E4-381A5142B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8C3A6-DEB3-913F-D251-93362826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92A17B-7B2B-A857-A5DB-5F435520CD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3E97A4-3C78-A693-98B2-E4B603C116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C54BE6-B2D0-9183-4509-CFF9CA56E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559C4E-554A-779A-7AFA-792F2D839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671B8A-A374-F921-F7D8-B1DB05443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200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47EBF-11B9-5BDF-A4C2-3D92DEBF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44011C-C123-95DD-283A-041DFC5C65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212D45-5800-80D9-FE44-6CC193C8D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0F963-FCEE-E625-6CA3-C4F81F5667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FAB9EA-EA2B-0C8C-71D8-83732F1528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8AC402-75E8-EF28-BE4C-49B1EB44F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4DAA23-387E-C3E3-2C70-5756AEFE1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0430D9-1EC5-80E2-B90F-64824627C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88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86FDE-E248-44B1-F998-495E40DF8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B4D8E7-ED5A-47C4-E16B-FACE6D2DA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91F43D-8D95-8DA6-28DF-0E35B4F0E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701358-80D7-91F9-BBBB-598473246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660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49EEF4-0A02-EE33-50E9-5FE949E45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5D9A74-D0F4-2107-25D5-E070B57C5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B189F-C428-6708-8D56-B11A992F8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319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B37A1-27B6-AD8F-E26E-CD5898589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285A4A-9210-613E-1F56-3730A6466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565555-C490-D184-2444-064B9F4AB3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4A7F2-A0C3-0B45-F436-5A9D8ED5D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AAD6F7-138A-AFD1-9AD9-2F5ED45B1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5E20D7-B9D7-3197-FFB4-D01993801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3192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3B952-7AC1-5911-5429-0F8BDCB0D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9450F9-3F7F-065D-2A28-A3C0519F11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332368-60E0-4864-84E0-EADB31FACA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F0A0D5-D558-58AD-280E-0DBE118BD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5682A2-7CC1-0A38-4FEB-469630AC3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88DB44-7013-46DE-83F0-A3FC9EFBC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358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96DBAC-1D77-2B9F-6D46-5767491BB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296013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F5BB54-F2EB-CBFC-4937-0B3FE9136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5D0AE-EAF7-04FA-0E43-8FAB898E75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54D0B7-082C-8CD7-9CDF-F3336EC23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BF4F2-DC52-B843-9495-7535C0DE495D}" type="datetimeFigureOut">
              <a:rPr lang="en-US" smtClean="0"/>
              <a:t>9/2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3A14B-4751-B7AA-DBAC-30D7DFFC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765BA2-492C-7B30-59D3-C8DB4C2F88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57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Lmn7@duke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31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36.png"/><Relationship Id="rId4" Type="http://schemas.openxmlformats.org/officeDocument/2006/relationships/image" Target="../media/image35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3.bin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37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4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3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7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7F4AB0-766C-E5E9-892D-3E6BBE9DAC92}"/>
              </a:ext>
            </a:extLst>
          </p:cNvPr>
          <p:cNvSpPr txBox="1"/>
          <p:nvPr/>
        </p:nvSpPr>
        <p:spPr>
          <a:xfrm>
            <a:off x="1766371" y="2883840"/>
            <a:ext cx="6673307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+mj-lt"/>
                <a:cs typeface="Arial" panose="020B0604020202020204" pitchFamily="34" charset="0"/>
              </a:rPr>
              <a:t>Lauren Nichols</a:t>
            </a:r>
          </a:p>
          <a:p>
            <a:r>
              <a:rPr lang="en-US" sz="2000" dirty="0">
                <a:latin typeface="+mj-lt"/>
                <a:cs typeface="Arial" panose="020B0604020202020204" pitchFamily="34" charset="0"/>
              </a:rPr>
              <a:t>Center for Data and Visualization Sciences – Duke Libraries</a:t>
            </a:r>
          </a:p>
          <a:p>
            <a:endParaRPr lang="en-US" sz="20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  <a:hlinkClick r:id="rId3"/>
              </a:rPr>
              <a:t>Lmn7@duke.edu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  <a:p>
            <a:r>
              <a:rPr lang="en-US" sz="1600" dirty="0">
                <a:latin typeface="+mj-lt"/>
                <a:cs typeface="Arial" panose="020B0604020202020204" pitchFamily="34" charset="0"/>
              </a:rPr>
              <a:t>Sept 2025</a:t>
            </a: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EB0A4B-667D-68D4-BB15-406FC4264B62}"/>
              </a:ext>
            </a:extLst>
          </p:cNvPr>
          <p:cNvSpPr txBox="1"/>
          <p:nvPr/>
        </p:nvSpPr>
        <p:spPr>
          <a:xfrm>
            <a:off x="1766371" y="870332"/>
            <a:ext cx="86592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Visualizing Data </a:t>
            </a:r>
          </a:p>
          <a:p>
            <a:r>
              <a:rPr lang="en-US" sz="4400" dirty="0"/>
              <a:t>in R using </a:t>
            </a:r>
            <a:r>
              <a:rPr lang="en-US" sz="4400" b="1" dirty="0"/>
              <a:t>ggplot2</a:t>
            </a:r>
            <a:endParaRPr lang="en-US" sz="4000" b="1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D4C6F4AC-19B3-3A76-3A74-C51DA527F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987" y="769910"/>
            <a:ext cx="2332642" cy="2692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77331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0" y="20408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FE112D-8128-B729-CB13-F07F8702A137}"/>
              </a:ext>
            </a:extLst>
          </p:cNvPr>
          <p:cNvSpPr/>
          <p:nvPr/>
        </p:nvSpPr>
        <p:spPr>
          <a:xfrm>
            <a:off x="42970" y="20408"/>
            <a:ext cx="5151436" cy="1958704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0E6992-BBA6-A77B-24F6-79A245F93289}"/>
              </a:ext>
            </a:extLst>
          </p:cNvPr>
          <p:cNvSpPr/>
          <p:nvPr/>
        </p:nvSpPr>
        <p:spPr>
          <a:xfrm>
            <a:off x="30069" y="3870542"/>
            <a:ext cx="5151437" cy="301806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6256285-20E4-9437-917A-72334DD63F60}"/>
              </a:ext>
            </a:extLst>
          </p:cNvPr>
          <p:cNvSpPr/>
          <p:nvPr/>
        </p:nvSpPr>
        <p:spPr>
          <a:xfrm>
            <a:off x="30070" y="1979112"/>
            <a:ext cx="2512714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04873A-63C4-4200-526E-EB88370B35E6}"/>
              </a:ext>
            </a:extLst>
          </p:cNvPr>
          <p:cNvSpPr/>
          <p:nvPr/>
        </p:nvSpPr>
        <p:spPr>
          <a:xfrm>
            <a:off x="4434777" y="1979111"/>
            <a:ext cx="746729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94F1C3-193F-3BAC-164F-CA5BBC1B46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0" t="29623" r="12512" b="43345"/>
          <a:stretch/>
        </p:blipFill>
        <p:spPr bwMode="auto">
          <a:xfrm>
            <a:off x="5207306" y="163648"/>
            <a:ext cx="6106538" cy="5848036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706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7E85D-3860-231C-B4AB-D2F5A627D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51F28730-E589-FCC4-70E3-781255809F8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4">
              <a:lumMod val="75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18D59DE3-AF5C-881E-27A5-EF538A23FC04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2B09F3FE-F193-3D49-A4A5-759A12294132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030A0">
              <a:alpha val="58947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D596FF55-37FA-2DB4-3895-A4198074F0AD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38BFC0E-8BF3-05A8-4704-042B1CD0C0E9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230F6164-1465-F031-2A73-9F47048FBB9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0A6B0A-A0FC-540C-6D53-A3B52556BC62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04B4DE-1B45-2469-C0F5-87E4E818D032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EB39B8-BFBF-63E6-2057-CD9E56850C5C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449461E-BAAB-5EC6-3E63-FFE1A8902B72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762A2C-B3A5-C18C-B2DA-EEC422C59477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404556-11A5-6DFD-88C2-170AEC528A20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9677E-6D98-330D-059B-7D274431B3C3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8480C37-A479-5132-77BB-0E5CBDEF899D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DB60CB9-148D-F66C-0675-DBF75ADD9217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6065271-B264-B859-3B91-308B2CF20C6C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6D930EC-0EE7-3C05-E9AA-106684E8A20B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9E9819-9CA9-D4EB-7F86-A4268CD73FEB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A197C1-86AC-3700-1FB1-25C505FA7DBB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849BD32-72C2-55A3-1A67-43D755BC9A26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rgbClr val="7744C4">
              <a:alpha val="54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FA5455-B7A8-D615-18BC-FD14C50B96F9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2247D01-9892-85F8-78CE-CA0BC2891EDE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rgbClr val="C45344">
              <a:alpha val="49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D651AE-8553-5844-8D2E-A978903FBDA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40E7D31-0205-41ED-C061-92CF00AF5707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accent4">
              <a:lumMod val="75000"/>
              <a:alpha val="54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4903313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Mapp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AD6ED74-EE00-B8F5-58D8-B57662CE36FC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7CD5761-22A6-0BD1-EE64-FDA6BEB679CC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B0F4CE-5A9D-8A4F-9EA8-EC738689183D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1B75B5C-CDB3-5D24-5B96-EC78C35EE01F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BEDD91-9583-1156-5E9E-26D7DB95845A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1DB83-2CAA-4480-FBAC-268A3EB203C8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52BDC9-2A9D-7FA4-E606-777CEE604BC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5647492-4373-D384-CE76-D6A2ECB680D3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8047168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C0380D-70F4-EBB8-AD8B-1EBA604F18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03E1598-2A6C-D0CA-E4D7-D10CB98515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1471" y="503088"/>
            <a:ext cx="6834956" cy="14781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DEEA5CA-750C-8643-D22C-6BE3C2E3DC70}"/>
              </a:ext>
            </a:extLst>
          </p:cNvPr>
          <p:cNvSpPr txBox="1"/>
          <p:nvPr/>
        </p:nvSpPr>
        <p:spPr>
          <a:xfrm>
            <a:off x="179563" y="1191313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BBAD7668-8BB2-0986-A3C8-6FC4AE693E7A}"/>
              </a:ext>
            </a:extLst>
          </p:cNvPr>
          <p:cNvSpPr/>
          <p:nvPr/>
        </p:nvSpPr>
        <p:spPr>
          <a:xfrm>
            <a:off x="1367851" y="1194659"/>
            <a:ext cx="214278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8D4F5FD5-AFAB-AF33-E600-5D71EC71CB42}"/>
              </a:ext>
            </a:extLst>
          </p:cNvPr>
          <p:cNvSpPr/>
          <p:nvPr/>
        </p:nvSpPr>
        <p:spPr>
          <a:xfrm>
            <a:off x="1367851" y="2420037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565C95-40C1-1C25-EB38-ECE48FAFDC40}"/>
              </a:ext>
            </a:extLst>
          </p:cNvPr>
          <p:cNvSpPr txBox="1"/>
          <p:nvPr/>
        </p:nvSpPr>
        <p:spPr>
          <a:xfrm>
            <a:off x="3397203" y="117901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7F7AED3C-D220-73E1-2E63-A91C22E0162D}"/>
              </a:ext>
            </a:extLst>
          </p:cNvPr>
          <p:cNvSpPr/>
          <p:nvPr/>
        </p:nvSpPr>
        <p:spPr>
          <a:xfrm>
            <a:off x="1367851" y="1813688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DE25EC-641F-1EE0-57BB-ED58136C5C04}"/>
              </a:ext>
            </a:extLst>
          </p:cNvPr>
          <p:cNvSpPr txBox="1"/>
          <p:nvPr/>
        </p:nvSpPr>
        <p:spPr>
          <a:xfrm>
            <a:off x="4528815" y="1776088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Monaco" pitchFamily="2" charset="77"/>
              </a:rPr>
              <a:t>)+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9BD45D-9A49-82E3-F23F-113BD5F2B7F8}"/>
              </a:ext>
            </a:extLst>
          </p:cNvPr>
          <p:cNvSpPr/>
          <p:nvPr/>
        </p:nvSpPr>
        <p:spPr>
          <a:xfrm>
            <a:off x="440871" y="1813688"/>
            <a:ext cx="4641301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4080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02B2CF-D12D-D672-0E6F-88FAF563F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5448E461-D67D-2CAD-8879-1D3A403A7A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1471" y="503088"/>
            <a:ext cx="6834956" cy="147811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FBE91AE-AC37-D5DA-7A5B-AB3E058C1B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1471" y="2032009"/>
            <a:ext cx="6398986" cy="48259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52F40BC-57AD-13D3-02FC-3934E2CD31CC}"/>
              </a:ext>
            </a:extLst>
          </p:cNvPr>
          <p:cNvSpPr txBox="1"/>
          <p:nvPr/>
        </p:nvSpPr>
        <p:spPr>
          <a:xfrm>
            <a:off x="179563" y="1191313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C5CCF90-3626-1487-A8D8-C72A470A724F}"/>
              </a:ext>
            </a:extLst>
          </p:cNvPr>
          <p:cNvSpPr/>
          <p:nvPr/>
        </p:nvSpPr>
        <p:spPr>
          <a:xfrm>
            <a:off x="1367851" y="1194659"/>
            <a:ext cx="214278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CB1AE2C-FCB3-002A-5FC7-47F01D11AA52}"/>
              </a:ext>
            </a:extLst>
          </p:cNvPr>
          <p:cNvSpPr/>
          <p:nvPr/>
        </p:nvSpPr>
        <p:spPr>
          <a:xfrm>
            <a:off x="1367851" y="2420037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D31AD9-4CC6-B231-CB1B-EC59BD2C9FCE}"/>
              </a:ext>
            </a:extLst>
          </p:cNvPr>
          <p:cNvSpPr txBox="1"/>
          <p:nvPr/>
        </p:nvSpPr>
        <p:spPr>
          <a:xfrm>
            <a:off x="3397203" y="117901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A56929A6-A2D2-64E2-6EC6-AF593125E71D}"/>
              </a:ext>
            </a:extLst>
          </p:cNvPr>
          <p:cNvSpPr/>
          <p:nvPr/>
        </p:nvSpPr>
        <p:spPr>
          <a:xfrm>
            <a:off x="1367851" y="1813688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D47F4A4-A487-F81B-A784-78AF8D7E539D}"/>
              </a:ext>
            </a:extLst>
          </p:cNvPr>
          <p:cNvSpPr txBox="1"/>
          <p:nvPr/>
        </p:nvSpPr>
        <p:spPr>
          <a:xfrm>
            <a:off x="4528815" y="1776088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Monaco" pitchFamily="2" charset="77"/>
              </a:rPr>
              <a:t>)+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08908F2-883B-766A-9236-ECCE055A1367}"/>
              </a:ext>
            </a:extLst>
          </p:cNvPr>
          <p:cNvSpPr/>
          <p:nvPr/>
        </p:nvSpPr>
        <p:spPr>
          <a:xfrm>
            <a:off x="551543" y="2246793"/>
            <a:ext cx="4641301" cy="2252126"/>
          </a:xfrm>
          <a:prstGeom prst="rect">
            <a:avLst/>
          </a:prstGeom>
          <a:solidFill>
            <a:schemeClr val="bg1">
              <a:alpha val="7622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934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E75D1C-7FFD-393C-86AB-9DE8388F6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86CB07FB-8996-DEEF-938F-8675D38076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1471" y="503088"/>
            <a:ext cx="6834956" cy="147811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08C4295-E8BD-C138-7BC4-C8226EE457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1471" y="2032009"/>
            <a:ext cx="6398986" cy="48259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75314B1-33F8-6EAD-2645-08B3085765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9199" y="2030294"/>
            <a:ext cx="6401258" cy="482770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82F528F-D181-2378-33AC-06488AE494C9}"/>
              </a:ext>
            </a:extLst>
          </p:cNvPr>
          <p:cNvSpPr txBox="1"/>
          <p:nvPr/>
        </p:nvSpPr>
        <p:spPr>
          <a:xfrm>
            <a:off x="179563" y="1191313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B475749-9611-01BE-F5B0-68EF6975F0DC}"/>
              </a:ext>
            </a:extLst>
          </p:cNvPr>
          <p:cNvSpPr/>
          <p:nvPr/>
        </p:nvSpPr>
        <p:spPr>
          <a:xfrm>
            <a:off x="1367851" y="1194659"/>
            <a:ext cx="214278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674F0B7-D3B5-164C-AEB0-E28996A2C81A}"/>
              </a:ext>
            </a:extLst>
          </p:cNvPr>
          <p:cNvSpPr/>
          <p:nvPr/>
        </p:nvSpPr>
        <p:spPr>
          <a:xfrm>
            <a:off x="1367851" y="2420037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928BC3-7B50-05FC-A4C9-967D36CC7460}"/>
              </a:ext>
            </a:extLst>
          </p:cNvPr>
          <p:cNvSpPr txBox="1"/>
          <p:nvPr/>
        </p:nvSpPr>
        <p:spPr>
          <a:xfrm>
            <a:off x="3397203" y="117901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7E1B5F30-5519-465C-3A37-B4879B1EFB98}"/>
              </a:ext>
            </a:extLst>
          </p:cNvPr>
          <p:cNvSpPr/>
          <p:nvPr/>
        </p:nvSpPr>
        <p:spPr>
          <a:xfrm>
            <a:off x="1367851" y="1813688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1208BD-E134-B3FE-D35A-C126B9FE68FD}"/>
              </a:ext>
            </a:extLst>
          </p:cNvPr>
          <p:cNvSpPr txBox="1"/>
          <p:nvPr/>
        </p:nvSpPr>
        <p:spPr>
          <a:xfrm>
            <a:off x="4528815" y="1776088"/>
            <a:ext cx="553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Monaco" pitchFamily="2" charset="77"/>
              </a:rPr>
              <a:t>)+</a:t>
            </a:r>
          </a:p>
        </p:txBody>
      </p:sp>
    </p:spTree>
    <p:extLst>
      <p:ext uri="{BB962C8B-B14F-4D97-AF65-F5344CB8AC3E}">
        <p14:creationId xmlns:p14="http://schemas.microsoft.com/office/powerpoint/2010/main" val="21253811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17432F-7126-DC99-707C-987F07066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CC63F5A-FCEC-545A-66F1-069D382F7A29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86B0A5-3FB9-9A93-3B65-EB377E59C6F8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382703-2DF0-AE60-5DD8-946BB4C15A5C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ABCD67-2406-C6B4-CBF6-B336713B80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8FB5F32-7BD1-CA44-EFD1-313F3D53B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073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0CA9C-4350-DE0E-5242-40A95F2C5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B27F5E7-0157-DC88-6DDA-FA495A4BE90F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804C37-5540-9163-D078-7AA47BC29E20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22224F-F8CB-507D-A02B-9A027F23E5B9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2F111A-C4A7-C2F4-8E25-0F8283A4CA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9D1267B-C09F-62CD-2E18-39A35C92F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FA2FAA-6DEF-8751-3C56-8328B37D064E}"/>
              </a:ext>
            </a:extLst>
          </p:cNvPr>
          <p:cNvSpPr/>
          <p:nvPr/>
        </p:nvSpPr>
        <p:spPr>
          <a:xfrm>
            <a:off x="7994074" y="2191538"/>
            <a:ext cx="2174133" cy="2333682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6E8529-A1D7-D631-6E0F-B772F1C62770}"/>
              </a:ext>
            </a:extLst>
          </p:cNvPr>
          <p:cNvSpPr/>
          <p:nvPr/>
        </p:nvSpPr>
        <p:spPr>
          <a:xfrm>
            <a:off x="2452255" y="1793242"/>
            <a:ext cx="2142328" cy="1631794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19986257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0C0D21D-7CBD-0351-3F66-3CB06C062740}"/>
              </a:ext>
            </a:extLst>
          </p:cNvPr>
          <p:cNvSpPr/>
          <p:nvPr/>
        </p:nvSpPr>
        <p:spPr>
          <a:xfrm>
            <a:off x="595745" y="4715483"/>
            <a:ext cx="11000509" cy="14851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A7CD13-21C4-1D1E-893B-8424F1C02BB7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07E550-1A1C-5C07-7264-1016B4F0DA74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2A275A-7A25-EA07-83E4-2260AEA5EA47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E59FDA-6833-4CF0-CECE-53B98FE8FD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877CABD-CE43-52F3-4B8A-DB97C5D56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5EE68DE-B2C1-0E35-5190-057ACBE6C913}"/>
              </a:ext>
            </a:extLst>
          </p:cNvPr>
          <p:cNvSpPr/>
          <p:nvPr/>
        </p:nvSpPr>
        <p:spPr>
          <a:xfrm>
            <a:off x="7980217" y="2230586"/>
            <a:ext cx="2187989" cy="218627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DC7FCE-1047-5CCA-3FB7-8F616082D2EF}"/>
              </a:ext>
            </a:extLst>
          </p:cNvPr>
          <p:cNvSpPr/>
          <p:nvPr/>
        </p:nvSpPr>
        <p:spPr>
          <a:xfrm>
            <a:off x="2507673" y="1793240"/>
            <a:ext cx="2086910" cy="1631795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5A5B2D-CD5A-A5F0-A99D-A62677A087EE}"/>
              </a:ext>
            </a:extLst>
          </p:cNvPr>
          <p:cNvSpPr txBox="1"/>
          <p:nvPr/>
        </p:nvSpPr>
        <p:spPr>
          <a:xfrm>
            <a:off x="797513" y="4878003"/>
            <a:ext cx="1028612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 err="1">
                <a:solidFill>
                  <a:srgbClr val="5079C1"/>
                </a:solidFill>
                <a:latin typeface="Monaco" pitchFamily="2" charset="77"/>
              </a:rPr>
              <a:t>Long_data</a:t>
            </a:r>
            <a:r>
              <a:rPr lang="en-US" sz="2400" dirty="0">
                <a:solidFill>
                  <a:srgbClr val="5079C1"/>
                </a:solidFill>
                <a:latin typeface="Monaco" pitchFamily="2" charset="77"/>
              </a:rPr>
              <a:t> </a:t>
            </a:r>
            <a:r>
              <a:rPr lang="en-US" sz="2400" dirty="0">
                <a:latin typeface="Monaco" pitchFamily="2" charset="77"/>
              </a:rPr>
              <a:t>&lt;-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Monaco" pitchFamily="2" charset="77"/>
              </a:rPr>
              <a:t>Wide_data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Monaco" pitchFamily="2" charset="77"/>
              </a:rPr>
              <a:t> </a:t>
            </a:r>
            <a:r>
              <a:rPr lang="en-US" sz="2400" dirty="0">
                <a:latin typeface="Monaco" pitchFamily="2" charset="77"/>
              </a:rPr>
              <a:t>|&gt;</a:t>
            </a:r>
          </a:p>
          <a:p>
            <a:r>
              <a:rPr lang="en-US" sz="2400" dirty="0">
                <a:latin typeface="Monaco" pitchFamily="2" charset="77"/>
              </a:rPr>
              <a:t>			</a:t>
            </a:r>
            <a:r>
              <a:rPr lang="en-US" sz="2400" dirty="0" err="1">
                <a:latin typeface="Monaco" pitchFamily="2" charset="77"/>
              </a:rPr>
              <a:t>pivot_longer</a:t>
            </a:r>
            <a:r>
              <a:rPr lang="en-US" sz="2400" dirty="0">
                <a:latin typeface="Monaco" pitchFamily="2" charset="77"/>
              </a:rPr>
              <a:t>(</a:t>
            </a:r>
            <a:r>
              <a:rPr lang="en-US" sz="2400" dirty="0" err="1">
                <a:latin typeface="Monaco" pitchFamily="2" charset="77"/>
              </a:rPr>
              <a:t>names_to</a:t>
            </a:r>
            <a:r>
              <a:rPr lang="en-US" sz="2400" dirty="0">
                <a:latin typeface="Monaco" pitchFamily="2" charset="77"/>
              </a:rPr>
              <a:t> = sex, </a:t>
            </a:r>
          </a:p>
          <a:p>
            <a:r>
              <a:rPr lang="en-US" sz="2400" dirty="0">
                <a:latin typeface="Monaco" pitchFamily="2" charset="77"/>
              </a:rPr>
              <a:t>                               </a:t>
            </a:r>
            <a:r>
              <a:rPr lang="en-US" sz="2400" dirty="0" err="1">
                <a:latin typeface="Monaco" pitchFamily="2" charset="77"/>
              </a:rPr>
              <a:t>values_to</a:t>
            </a:r>
            <a:r>
              <a:rPr lang="en-US" sz="2400" dirty="0">
                <a:latin typeface="Monaco" pitchFamily="2" charset="77"/>
              </a:rPr>
              <a:t> = number)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A05AED5-4D4D-86C8-A831-917677A77D57}"/>
              </a:ext>
            </a:extLst>
          </p:cNvPr>
          <p:cNvCxnSpPr/>
          <p:nvPr/>
        </p:nvCxnSpPr>
        <p:spPr>
          <a:xfrm>
            <a:off x="5034807" y="2707920"/>
            <a:ext cx="1402080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8293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672" y="1798029"/>
            <a:ext cx="10360655" cy="22405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876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Eric Monson">
            <a:extLst>
              <a:ext uri="{FF2B5EF4-FFF2-40B4-BE49-F238E27FC236}">
                <a16:creationId xmlns:a16="http://schemas.microsoft.com/office/drawing/2014/main" id="{D7B62AE0-29E5-88C6-34AF-11D1666E04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7" r="2" b="29168"/>
          <a:stretch/>
        </p:blipFill>
        <p:spPr bwMode="auto">
          <a:xfrm>
            <a:off x="5931682" y="3611914"/>
            <a:ext cx="2248868" cy="2248868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McCall Pitcher">
            <a:extLst>
              <a:ext uri="{FF2B5EF4-FFF2-40B4-BE49-F238E27FC236}">
                <a16:creationId xmlns:a16="http://schemas.microsoft.com/office/drawing/2014/main" id="{25FEB2AD-AB84-3D51-E6C9-829060BE3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50" r="-1" b="11249"/>
          <a:stretch/>
        </p:blipFill>
        <p:spPr bwMode="auto">
          <a:xfrm>
            <a:off x="5931682" y="997218"/>
            <a:ext cx="2248868" cy="2248868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Lauren Nichols">
            <a:extLst>
              <a:ext uri="{FF2B5EF4-FFF2-40B4-BE49-F238E27FC236}">
                <a16:creationId xmlns:a16="http://schemas.microsoft.com/office/drawing/2014/main" id="{05AD2BA2-77A6-D1CC-EE07-3AEB7EF89A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00"/>
          <a:stretch/>
        </p:blipFill>
        <p:spPr bwMode="auto">
          <a:xfrm>
            <a:off x="3026321" y="997218"/>
            <a:ext cx="2248868" cy="2248868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9A8775A-3ECA-D41F-30E7-6AC787CF299B}"/>
              </a:ext>
            </a:extLst>
          </p:cNvPr>
          <p:cNvSpPr txBox="1"/>
          <p:nvPr/>
        </p:nvSpPr>
        <p:spPr>
          <a:xfrm>
            <a:off x="2561190" y="-49610"/>
            <a:ext cx="835510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Data Visualization Specialists</a:t>
            </a:r>
          </a:p>
        </p:txBody>
      </p:sp>
      <p:pic>
        <p:nvPicPr>
          <p:cNvPr id="1032" name="Picture 8" descr="Center for Data and Visualization Sciences">
            <a:extLst>
              <a:ext uri="{FF2B5EF4-FFF2-40B4-BE49-F238E27FC236}">
                <a16:creationId xmlns:a16="http://schemas.microsoft.com/office/drawing/2014/main" id="{6A03409D-66F5-F4A0-8CA2-4DD58C6BEE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1100" y="12968"/>
            <a:ext cx="2120900" cy="196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874B96-068D-C80D-FE28-C7833AD8AA41}"/>
              </a:ext>
            </a:extLst>
          </p:cNvPr>
          <p:cNvSpPr txBox="1"/>
          <p:nvPr/>
        </p:nvSpPr>
        <p:spPr>
          <a:xfrm>
            <a:off x="230983" y="1551696"/>
            <a:ext cx="26278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dirty="0"/>
              <a:t>Lauren </a:t>
            </a:r>
          </a:p>
          <a:p>
            <a:pPr algn="r"/>
            <a:r>
              <a:rPr lang="en-US" sz="3200" dirty="0"/>
              <a:t>Nichols</a:t>
            </a:r>
          </a:p>
          <a:p>
            <a:pPr algn="r"/>
            <a:endParaRPr lang="en-US" sz="3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767501-F62F-9C6C-78E2-31441F0BD63C}"/>
              </a:ext>
            </a:extLst>
          </p:cNvPr>
          <p:cNvSpPr txBox="1"/>
          <p:nvPr/>
        </p:nvSpPr>
        <p:spPr>
          <a:xfrm>
            <a:off x="8348068" y="1498732"/>
            <a:ext cx="26278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McCall </a:t>
            </a:r>
          </a:p>
          <a:p>
            <a:r>
              <a:rPr lang="en-US" sz="3200" dirty="0"/>
              <a:t>Pitch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CE9880C-FB96-4FBE-D9A7-CAEED52F1395}"/>
              </a:ext>
            </a:extLst>
          </p:cNvPr>
          <p:cNvSpPr txBox="1"/>
          <p:nvPr/>
        </p:nvSpPr>
        <p:spPr>
          <a:xfrm>
            <a:off x="8348068" y="3994708"/>
            <a:ext cx="26278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Eric </a:t>
            </a:r>
          </a:p>
          <a:p>
            <a:r>
              <a:rPr lang="en-US" sz="3200" dirty="0"/>
              <a:t>Monson</a:t>
            </a:r>
          </a:p>
        </p:txBody>
      </p:sp>
      <p:pic>
        <p:nvPicPr>
          <p:cNvPr id="6" name="Picture 2" descr="Drew Keener | Staff Directory | Duke University Libraries">
            <a:extLst>
              <a:ext uri="{FF2B5EF4-FFF2-40B4-BE49-F238E27FC236}">
                <a16:creationId xmlns:a16="http://schemas.microsoft.com/office/drawing/2014/main" id="{B97599EA-DFAD-D204-9CFF-22228830A0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" t="4445" r="615" b="21523"/>
          <a:stretch/>
        </p:blipFill>
        <p:spPr bwMode="auto">
          <a:xfrm>
            <a:off x="3026321" y="3611914"/>
            <a:ext cx="2248868" cy="224886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F51197-8DA1-A785-30D9-4754722F8B1A}"/>
              </a:ext>
            </a:extLst>
          </p:cNvPr>
          <p:cNvSpPr txBox="1"/>
          <p:nvPr/>
        </p:nvSpPr>
        <p:spPr>
          <a:xfrm>
            <a:off x="398501" y="4077951"/>
            <a:ext cx="26278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dirty="0"/>
              <a:t>Drew </a:t>
            </a:r>
          </a:p>
          <a:p>
            <a:pPr algn="r"/>
            <a:r>
              <a:rPr lang="en-US" sz="3200" dirty="0"/>
              <a:t>Keener</a:t>
            </a:r>
          </a:p>
          <a:p>
            <a:pPr algn="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pp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0621E1-5770-2043-6492-AD24C6A848D3}"/>
              </a:ext>
            </a:extLst>
          </p:cNvPr>
          <p:cNvSpPr txBox="1"/>
          <p:nvPr/>
        </p:nvSpPr>
        <p:spPr>
          <a:xfrm>
            <a:off x="4150755" y="6106967"/>
            <a:ext cx="62366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err="1">
                <a:solidFill>
                  <a:schemeClr val="accent2">
                    <a:lumMod val="75000"/>
                  </a:schemeClr>
                </a:solidFill>
              </a:rPr>
              <a:t>askdata@duke.edu</a:t>
            </a:r>
            <a:endParaRPr lang="en-U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7462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672" y="1798029"/>
            <a:ext cx="10360655" cy="22405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0E9C84D-22D8-4055-59B7-445E86FB29C5}"/>
              </a:ext>
            </a:extLst>
          </p:cNvPr>
          <p:cNvSpPr/>
          <p:nvPr/>
        </p:nvSpPr>
        <p:spPr>
          <a:xfrm>
            <a:off x="4353641" y="1950220"/>
            <a:ext cx="1948305" cy="20883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1745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765022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B5E5B08-4528-E098-C6E7-E04D0CD05444}"/>
              </a:ext>
            </a:extLst>
          </p:cNvPr>
          <p:cNvSpPr/>
          <p:nvPr/>
        </p:nvSpPr>
        <p:spPr>
          <a:xfrm>
            <a:off x="1568139" y="2239731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C82FFB-DF17-1371-7893-18868DA401D4}"/>
              </a:ext>
            </a:extLst>
          </p:cNvPr>
          <p:cNvSpPr txBox="1"/>
          <p:nvPr/>
        </p:nvSpPr>
        <p:spPr>
          <a:xfrm>
            <a:off x="4745421" y="220665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9578D-BE3F-5FDC-65C0-310E8F75180E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</p:spTree>
    <p:extLst>
      <p:ext uri="{BB962C8B-B14F-4D97-AF65-F5344CB8AC3E}">
        <p14:creationId xmlns:p14="http://schemas.microsoft.com/office/powerpoint/2010/main" val="23639938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68847-E8EE-AEDA-3B4D-252D1B368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9ED3F398-4A1A-1BD3-5344-99BD34EE0E84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28A3019E-E38C-878F-2BC9-0F5013E1FB68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661CB9E2-83D4-2C7C-9C98-10EF1CBC6DC6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A1CC38-818B-CD5A-9217-B22B37E73D7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98F3F6-F4FF-719A-CC85-3995F89B8CC5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3FFB4E-6D3B-16BE-CA56-3D95D8C41B30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9DFD95-D070-0354-AB64-2B931F239286}"/>
              </a:ext>
            </a:extLst>
          </p:cNvPr>
          <p:cNvSpPr txBox="1"/>
          <p:nvPr/>
        </p:nvSpPr>
        <p:spPr>
          <a:xfrm>
            <a:off x="379851" y="372879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402C0E1-DB9D-2CDB-F097-3D336CAB1044}"/>
              </a:ext>
            </a:extLst>
          </p:cNvPr>
          <p:cNvSpPr/>
          <p:nvPr/>
        </p:nvSpPr>
        <p:spPr>
          <a:xfrm>
            <a:off x="1568139" y="373213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0DCD892-2E44-F07E-F674-EA56AAC559DE}"/>
              </a:ext>
            </a:extLst>
          </p:cNvPr>
          <p:cNvSpPr/>
          <p:nvPr/>
        </p:nvSpPr>
        <p:spPr>
          <a:xfrm>
            <a:off x="1553004" y="4319980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D64B9BF-4C9B-A32E-FDA7-DFFE941BADB0}"/>
              </a:ext>
            </a:extLst>
          </p:cNvPr>
          <p:cNvSpPr/>
          <p:nvPr/>
        </p:nvSpPr>
        <p:spPr>
          <a:xfrm>
            <a:off x="1568139" y="4846446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347203-6C81-084D-7E64-610E4D1F4A06}"/>
              </a:ext>
            </a:extLst>
          </p:cNvPr>
          <p:cNvSpPr txBox="1"/>
          <p:nvPr/>
        </p:nvSpPr>
        <p:spPr>
          <a:xfrm>
            <a:off x="5364424" y="4298962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07936B-D511-40C4-D5C0-7A1DC098BFD2}"/>
              </a:ext>
            </a:extLst>
          </p:cNvPr>
          <p:cNvSpPr txBox="1"/>
          <p:nvPr/>
        </p:nvSpPr>
        <p:spPr>
          <a:xfrm>
            <a:off x="4007966" y="370295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02FA09-2B0C-BF41-9548-A9DBF16EF8A5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46F28C6B-65B3-549E-0D8F-83F1E73365A3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49B40092-E4C9-DA15-772F-B811BC5E05CF}"/>
              </a:ext>
            </a:extLst>
          </p:cNvPr>
          <p:cNvSpPr/>
          <p:nvPr/>
        </p:nvSpPr>
        <p:spPr>
          <a:xfrm>
            <a:off x="1568139" y="2765022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674D23-C804-986D-A7BA-86CB51F64F63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69780666-77CC-DB27-7753-F4A99724023D}"/>
              </a:ext>
            </a:extLst>
          </p:cNvPr>
          <p:cNvSpPr/>
          <p:nvPr/>
        </p:nvSpPr>
        <p:spPr>
          <a:xfrm>
            <a:off x="1568139" y="2239731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92A1F3-7FF0-B5E2-86B6-0634BF370193}"/>
              </a:ext>
            </a:extLst>
          </p:cNvPr>
          <p:cNvSpPr txBox="1"/>
          <p:nvPr/>
        </p:nvSpPr>
        <p:spPr>
          <a:xfrm>
            <a:off x="4745421" y="2206650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F1C2888-5898-999B-A26D-D0FBABBF316E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</p:spTree>
    <p:extLst>
      <p:ext uri="{BB962C8B-B14F-4D97-AF65-F5344CB8AC3E}">
        <p14:creationId xmlns:p14="http://schemas.microsoft.com/office/powerpoint/2010/main" val="39232618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32C8E7-73FA-DE9A-744F-A498F64BC2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3825" y="935048"/>
            <a:ext cx="4964386" cy="491571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89DFF59-6A7E-388F-FC2C-854B033C0E9D}"/>
              </a:ext>
            </a:extLst>
          </p:cNvPr>
          <p:cNvSpPr txBox="1"/>
          <p:nvPr/>
        </p:nvSpPr>
        <p:spPr>
          <a:xfrm>
            <a:off x="398928" y="98559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12DAED2-1AE6-47F1-291C-0699AB239FD8}"/>
              </a:ext>
            </a:extLst>
          </p:cNvPr>
          <p:cNvSpPr/>
          <p:nvPr/>
        </p:nvSpPr>
        <p:spPr>
          <a:xfrm>
            <a:off x="1587216" y="98893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F489E01-8B44-281D-4A51-01EDCCA16917}"/>
              </a:ext>
            </a:extLst>
          </p:cNvPr>
          <p:cNvSpPr/>
          <p:nvPr/>
        </p:nvSpPr>
        <p:spPr>
          <a:xfrm>
            <a:off x="1572081" y="1576780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4DC55FF-B265-9176-2FB0-BCB57D4B1E93}"/>
              </a:ext>
            </a:extLst>
          </p:cNvPr>
          <p:cNvSpPr/>
          <p:nvPr/>
        </p:nvSpPr>
        <p:spPr>
          <a:xfrm>
            <a:off x="1587216" y="2103246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2DAFE9-C688-7CF8-2D23-FC3E14A19012}"/>
              </a:ext>
            </a:extLst>
          </p:cNvPr>
          <p:cNvSpPr txBox="1"/>
          <p:nvPr/>
        </p:nvSpPr>
        <p:spPr>
          <a:xfrm>
            <a:off x="5383501" y="1555762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E992D2-4CDB-38D5-E0F7-56B3291CB289}"/>
              </a:ext>
            </a:extLst>
          </p:cNvPr>
          <p:cNvSpPr txBox="1"/>
          <p:nvPr/>
        </p:nvSpPr>
        <p:spPr>
          <a:xfrm>
            <a:off x="4027043" y="95975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</p:spTree>
    <p:extLst>
      <p:ext uri="{BB962C8B-B14F-4D97-AF65-F5344CB8AC3E}">
        <p14:creationId xmlns:p14="http://schemas.microsoft.com/office/powerpoint/2010/main" val="26149254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49F8E165-4F54-427F-8976-08D88372F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5319"/>
            <a:ext cx="5804780" cy="2942763"/>
          </a:xfrm>
          <a:prstGeom prst="rect">
            <a:avLst/>
          </a:prstGeom>
        </p:spPr>
      </p:pic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4C2D3482-9722-27AF-DDD2-F78C0D985F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2" t="49917" r="49397"/>
          <a:stretch/>
        </p:blipFill>
        <p:spPr>
          <a:xfrm>
            <a:off x="5608532" y="879520"/>
            <a:ext cx="2817256" cy="1435686"/>
          </a:xfrm>
          <a:prstGeom prst="rect">
            <a:avLst/>
          </a:prstGeom>
        </p:spPr>
      </p:pic>
      <p:pic>
        <p:nvPicPr>
          <p:cNvPr id="19" name="Picture 18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39CAB4C0-BC66-313B-AFF9-C3086EF283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06" r="34937" b="5402"/>
          <a:stretch/>
        </p:blipFill>
        <p:spPr>
          <a:xfrm>
            <a:off x="5547835" y="3614885"/>
            <a:ext cx="2776327" cy="1378863"/>
          </a:xfrm>
          <a:prstGeom prst="rect">
            <a:avLst/>
          </a:prstGeom>
        </p:spPr>
      </p:pic>
      <p:sp>
        <p:nvSpPr>
          <p:cNvPr id="20" name="Parallelogram 19">
            <a:extLst>
              <a:ext uri="{FF2B5EF4-FFF2-40B4-BE49-F238E27FC236}">
                <a16:creationId xmlns:a16="http://schemas.microsoft.com/office/drawing/2014/main" id="{09ECF20D-828C-BC22-9EAA-049966A64D50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53565986-EEA4-8D55-329D-B0C067E96FC8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92ED75D1-0D97-A177-3FE4-6EB4D7BE41DC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E933A2CF-5FA2-D101-893F-2FA31CDAF9DA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8E333C4E-4A89-1773-608B-7852D958C5BA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arallelogram 24">
            <a:extLst>
              <a:ext uri="{FF2B5EF4-FFF2-40B4-BE49-F238E27FC236}">
                <a16:creationId xmlns:a16="http://schemas.microsoft.com/office/drawing/2014/main" id="{7B50E680-B35A-3510-A924-1634CB8897AC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3B10A0-DA2D-83A6-0F97-08DDEEBE553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C78DA6-D22A-481F-5A46-DEFC3290A178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esthe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3BD323-52A1-7A80-0A85-C16CDB423271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at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F9ED5E-97D6-2DBD-CC57-95DC73AEA601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C48CC54-F380-0C33-FD37-8F9803A4F24A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5DD58ED3-64D4-37C4-1711-65AC52AE4CFB}"/>
              </a:ext>
            </a:extLst>
          </p:cNvPr>
          <p:cNvSpPr/>
          <p:nvPr/>
        </p:nvSpPr>
        <p:spPr>
          <a:xfrm rot="1070933" flipH="1">
            <a:off x="9717198" y="5508825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29A7DE3-33AC-3250-6B99-031EA943C5F2}"/>
              </a:ext>
            </a:extLst>
          </p:cNvPr>
          <p:cNvSpPr txBox="1"/>
          <p:nvPr/>
        </p:nvSpPr>
        <p:spPr>
          <a:xfrm>
            <a:off x="8106042" y="564845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FDA5BAB-5BAE-BCF7-5DAC-C0104FD9C1E6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28E712B-A2C5-F5F0-9875-708A9F5448CF}"/>
              </a:ext>
            </a:extLst>
          </p:cNvPr>
          <p:cNvSpPr/>
          <p:nvPr/>
        </p:nvSpPr>
        <p:spPr>
          <a:xfrm>
            <a:off x="41329" y="864292"/>
            <a:ext cx="1525829" cy="1368278"/>
          </a:xfrm>
          <a:prstGeom prst="ellipse">
            <a:avLst/>
          </a:prstGeom>
          <a:noFill/>
          <a:ln w="57150"/>
          <a:effectLst>
            <a:glow>
              <a:schemeClr val="bg1">
                <a:alpha val="40000"/>
              </a:schemeClr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group of graphs on a white background&#10;&#10;Description automatically generated">
            <a:extLst>
              <a:ext uri="{FF2B5EF4-FFF2-40B4-BE49-F238E27FC236}">
                <a16:creationId xmlns:a16="http://schemas.microsoft.com/office/drawing/2014/main" id="{E438BC49-D9DC-E1E7-2C01-57E797C0F74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5"/>
          <a:stretch/>
        </p:blipFill>
        <p:spPr>
          <a:xfrm>
            <a:off x="34232" y="3474671"/>
            <a:ext cx="5574300" cy="2885812"/>
          </a:xfrm>
          <a:prstGeom prst="rect">
            <a:avLst/>
          </a:prstGeom>
        </p:spPr>
      </p:pic>
      <p:pic>
        <p:nvPicPr>
          <p:cNvPr id="36" name="Picture 35" descr="A screenshot of a graph&#10;&#10;Description automatically generated">
            <a:extLst>
              <a:ext uri="{FF2B5EF4-FFF2-40B4-BE49-F238E27FC236}">
                <a16:creationId xmlns:a16="http://schemas.microsoft.com/office/drawing/2014/main" id="{EC9A5A0B-7A05-368F-804F-C37007D537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1" t="3478" r="3059" b="49917"/>
          <a:stretch/>
        </p:blipFill>
        <p:spPr>
          <a:xfrm>
            <a:off x="2919505" y="2232570"/>
            <a:ext cx="5404657" cy="1318442"/>
          </a:xfrm>
          <a:prstGeom prst="rect">
            <a:avLst/>
          </a:prstGeom>
        </p:spPr>
      </p:pic>
      <p:pic>
        <p:nvPicPr>
          <p:cNvPr id="37" name="Picture 36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D02BBB64-882F-A544-B8C3-F69599F48B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641" t="8606" r="3937" b="5402"/>
          <a:stretch/>
        </p:blipFill>
        <p:spPr>
          <a:xfrm>
            <a:off x="5558459" y="4921238"/>
            <a:ext cx="1383509" cy="137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616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E5EBCDCD-4393-90B7-7661-3D5494F97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1665"/>
            <a:ext cx="13966188" cy="66106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34667E-AA44-043E-1414-42DB76F44EC1}"/>
              </a:ext>
            </a:extLst>
          </p:cNvPr>
          <p:cNvSpPr txBox="1"/>
          <p:nvPr/>
        </p:nvSpPr>
        <p:spPr>
          <a:xfrm>
            <a:off x="149902" y="74950"/>
            <a:ext cx="5399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120 ggplot2 extension libraries</a:t>
            </a:r>
          </a:p>
        </p:txBody>
      </p:sp>
    </p:spTree>
    <p:extLst>
      <p:ext uri="{BB962C8B-B14F-4D97-AF65-F5344CB8AC3E}">
        <p14:creationId xmlns:p14="http://schemas.microsoft.com/office/powerpoint/2010/main" val="13676489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xagon 1">
            <a:extLst>
              <a:ext uri="{FF2B5EF4-FFF2-40B4-BE49-F238E27FC236}">
                <a16:creationId xmlns:a16="http://schemas.microsoft.com/office/drawing/2014/main" id="{743AAF9C-64ED-42DA-FE81-0DD836B64BF9}"/>
              </a:ext>
            </a:extLst>
          </p:cNvPr>
          <p:cNvSpPr/>
          <p:nvPr/>
        </p:nvSpPr>
        <p:spPr>
          <a:xfrm rot="5400000">
            <a:off x="6892013" y="1317885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Hexagon 2">
            <a:extLst>
              <a:ext uri="{FF2B5EF4-FFF2-40B4-BE49-F238E27FC236}">
                <a16:creationId xmlns:a16="http://schemas.microsoft.com/office/drawing/2014/main" id="{3E245088-C229-981F-348C-4D3C0DC05319}"/>
              </a:ext>
            </a:extLst>
          </p:cNvPr>
          <p:cNvSpPr/>
          <p:nvPr/>
        </p:nvSpPr>
        <p:spPr>
          <a:xfrm rot="5400000">
            <a:off x="5118236" y="150416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0BA62908-6396-AD01-AAC6-B00934492303}"/>
              </a:ext>
            </a:extLst>
          </p:cNvPr>
          <p:cNvSpPr/>
          <p:nvPr/>
        </p:nvSpPr>
        <p:spPr>
          <a:xfrm rot="5400000">
            <a:off x="6087673" y="454538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105B9629-222F-D9D0-868F-F09ECB6F5106}"/>
              </a:ext>
            </a:extLst>
          </p:cNvPr>
          <p:cNvSpPr/>
          <p:nvPr/>
        </p:nvSpPr>
        <p:spPr>
          <a:xfrm rot="5400000">
            <a:off x="6843432" y="3936317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9F513010-830C-D15B-85E1-296014855F9A}"/>
              </a:ext>
            </a:extLst>
          </p:cNvPr>
          <p:cNvSpPr/>
          <p:nvPr/>
        </p:nvSpPr>
        <p:spPr>
          <a:xfrm rot="5400000">
            <a:off x="5995504" y="146895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23934DB2-9C04-A47A-2E38-3683EAF8B6DB}"/>
              </a:ext>
            </a:extLst>
          </p:cNvPr>
          <p:cNvSpPr/>
          <p:nvPr/>
        </p:nvSpPr>
        <p:spPr>
          <a:xfrm rot="5400000">
            <a:off x="6715790" y="216028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D93B8110-1F11-D8FC-0909-4DBECCA6E03B}"/>
              </a:ext>
            </a:extLst>
          </p:cNvPr>
          <p:cNvSpPr/>
          <p:nvPr/>
        </p:nvSpPr>
        <p:spPr>
          <a:xfrm rot="5400000">
            <a:off x="4351017" y="3983670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BD9EE365-CF19-095A-4E6C-A45F33775E17}"/>
              </a:ext>
            </a:extLst>
          </p:cNvPr>
          <p:cNvSpPr/>
          <p:nvPr/>
        </p:nvSpPr>
        <p:spPr>
          <a:xfrm rot="5400000">
            <a:off x="5080536" y="4521707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B4C7E97D-A742-BA21-2F15-8BCB4B2B4F91}"/>
              </a:ext>
            </a:extLst>
          </p:cNvPr>
          <p:cNvSpPr/>
          <p:nvPr/>
        </p:nvSpPr>
        <p:spPr>
          <a:xfrm rot="5400000">
            <a:off x="4295632" y="1945381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AAB762EB-9CC7-7247-6C17-569655D4F39A}"/>
              </a:ext>
            </a:extLst>
          </p:cNvPr>
          <p:cNvSpPr/>
          <p:nvPr/>
        </p:nvSpPr>
        <p:spPr>
          <a:xfrm rot="5400000">
            <a:off x="4478331" y="120338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0366C92D-716B-992E-C544-B8EE352A5337}"/>
              </a:ext>
            </a:extLst>
          </p:cNvPr>
          <p:cNvSpPr/>
          <p:nvPr/>
        </p:nvSpPr>
        <p:spPr>
          <a:xfrm rot="5400000">
            <a:off x="5592962" y="524191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34C86488-0D0E-BEE4-D1D8-6DC059754290}"/>
              </a:ext>
            </a:extLst>
          </p:cNvPr>
          <p:cNvSpPr/>
          <p:nvPr/>
        </p:nvSpPr>
        <p:spPr>
          <a:xfrm rot="5400000">
            <a:off x="7025092" y="4777560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495CD731-5DDE-0652-B1F5-F3DF777D06E5}"/>
              </a:ext>
            </a:extLst>
          </p:cNvPr>
          <p:cNvSpPr/>
          <p:nvPr/>
        </p:nvSpPr>
        <p:spPr>
          <a:xfrm rot="5400000">
            <a:off x="5550139" y="830604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40BA5560-4EF5-4AD2-2665-D006A27E83D5}"/>
              </a:ext>
            </a:extLst>
          </p:cNvPr>
          <p:cNvSpPr/>
          <p:nvPr/>
        </p:nvSpPr>
        <p:spPr>
          <a:xfrm rot="5400000">
            <a:off x="4307634" y="500009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18B355-60FB-0FA8-1F12-D50610BCAC93}"/>
              </a:ext>
            </a:extLst>
          </p:cNvPr>
          <p:cNvCxnSpPr>
            <a:cxnSpLocks/>
            <a:stCxn id="10" idx="5"/>
          </p:cNvCxnSpPr>
          <p:nvPr/>
        </p:nvCxnSpPr>
        <p:spPr>
          <a:xfrm>
            <a:off x="4729081" y="2278195"/>
            <a:ext cx="547932" cy="55485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34D1473-1CA0-1922-600B-91B0A069BDAC}"/>
              </a:ext>
            </a:extLst>
          </p:cNvPr>
          <p:cNvCxnSpPr>
            <a:cxnSpLocks/>
            <a:stCxn id="11" idx="0"/>
          </p:cNvCxnSpPr>
          <p:nvPr/>
        </p:nvCxnSpPr>
        <p:spPr>
          <a:xfrm>
            <a:off x="4710509" y="1636832"/>
            <a:ext cx="750175" cy="108139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BF2B88-D57B-0911-B6F1-3DFF41B44562}"/>
              </a:ext>
            </a:extLst>
          </p:cNvPr>
          <p:cNvCxnSpPr>
            <a:cxnSpLocks/>
            <a:stCxn id="3" idx="0"/>
          </p:cNvCxnSpPr>
          <p:nvPr/>
        </p:nvCxnSpPr>
        <p:spPr>
          <a:xfrm>
            <a:off x="5350414" y="1937612"/>
            <a:ext cx="291276" cy="65612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48F96A3-E6F4-D607-E475-9E8C7BE77AE0}"/>
              </a:ext>
            </a:extLst>
          </p:cNvPr>
          <p:cNvCxnSpPr>
            <a:cxnSpLocks/>
            <a:stCxn id="14" idx="0"/>
            <a:endCxn id="30" idx="0"/>
          </p:cNvCxnSpPr>
          <p:nvPr/>
        </p:nvCxnSpPr>
        <p:spPr>
          <a:xfrm>
            <a:off x="5782317" y="1264053"/>
            <a:ext cx="6731" cy="121159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7B1B760-97C0-A9C5-2D61-7C793BAC4D5B}"/>
              </a:ext>
            </a:extLst>
          </p:cNvPr>
          <p:cNvCxnSpPr>
            <a:cxnSpLocks/>
            <a:stCxn id="6" idx="0"/>
          </p:cNvCxnSpPr>
          <p:nvPr/>
        </p:nvCxnSpPr>
        <p:spPr>
          <a:xfrm flipH="1">
            <a:off x="5967740" y="1902401"/>
            <a:ext cx="259942" cy="691334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FB843AE-4822-0E8D-BD7F-D01700204225}"/>
              </a:ext>
            </a:extLst>
          </p:cNvPr>
          <p:cNvCxnSpPr>
            <a:cxnSpLocks/>
            <a:stCxn id="2" idx="1"/>
          </p:cNvCxnSpPr>
          <p:nvPr/>
        </p:nvCxnSpPr>
        <p:spPr>
          <a:xfrm flipH="1">
            <a:off x="6147550" y="1650699"/>
            <a:ext cx="775370" cy="106752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0215458-6646-CF43-CB9C-7593CD171B8E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6406374" y="2493100"/>
            <a:ext cx="340323" cy="35233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175D0B-AF69-3A32-6C9D-3148C92A0780}"/>
              </a:ext>
            </a:extLst>
          </p:cNvPr>
          <p:cNvCxnSpPr>
            <a:cxnSpLocks/>
            <a:stCxn id="5" idx="2"/>
          </p:cNvCxnSpPr>
          <p:nvPr/>
        </p:nvCxnSpPr>
        <p:spPr>
          <a:xfrm flipH="1" flipV="1">
            <a:off x="6365132" y="3558359"/>
            <a:ext cx="509207" cy="44768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EECC73D-2264-E50C-4C3E-0F1BE0C99590}"/>
              </a:ext>
            </a:extLst>
          </p:cNvPr>
          <p:cNvCxnSpPr>
            <a:cxnSpLocks/>
            <a:stCxn id="13" idx="2"/>
          </p:cNvCxnSpPr>
          <p:nvPr/>
        </p:nvCxnSpPr>
        <p:spPr>
          <a:xfrm flipH="1" flipV="1">
            <a:off x="6183681" y="3722635"/>
            <a:ext cx="872318" cy="112465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86DF6EE-8794-9F39-27B9-FC93364778A7}"/>
              </a:ext>
            </a:extLst>
          </p:cNvPr>
          <p:cNvCxnSpPr>
            <a:cxnSpLocks/>
            <a:stCxn id="4" idx="3"/>
          </p:cNvCxnSpPr>
          <p:nvPr/>
        </p:nvCxnSpPr>
        <p:spPr>
          <a:xfrm flipH="1" flipV="1">
            <a:off x="5934047" y="3817581"/>
            <a:ext cx="385804" cy="69689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7F781A3-96A8-7E22-1897-050DC00E584A}"/>
              </a:ext>
            </a:extLst>
          </p:cNvPr>
          <p:cNvCxnSpPr>
            <a:cxnSpLocks/>
            <a:stCxn id="12" idx="3"/>
            <a:endCxn id="30" idx="2"/>
          </p:cNvCxnSpPr>
          <p:nvPr/>
        </p:nvCxnSpPr>
        <p:spPr>
          <a:xfrm flipH="1" flipV="1">
            <a:off x="5789048" y="3952763"/>
            <a:ext cx="36092" cy="125824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725ACC0-2D7E-FE5D-85C6-0E007A4538AF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5312714" y="3817580"/>
            <a:ext cx="335849" cy="673221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6AB8F1D-637F-7A4D-87B5-88D235EDC7A7}"/>
              </a:ext>
            </a:extLst>
          </p:cNvPr>
          <p:cNvCxnSpPr>
            <a:cxnSpLocks/>
            <a:stCxn id="15" idx="3"/>
          </p:cNvCxnSpPr>
          <p:nvPr/>
        </p:nvCxnSpPr>
        <p:spPr>
          <a:xfrm flipV="1">
            <a:off x="4539812" y="3698788"/>
            <a:ext cx="882921" cy="127039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4FDA33-11F9-1BD8-753E-414EA1A55C5D}"/>
              </a:ext>
            </a:extLst>
          </p:cNvPr>
          <p:cNvCxnSpPr>
            <a:cxnSpLocks/>
            <a:stCxn id="8" idx="4"/>
          </p:cNvCxnSpPr>
          <p:nvPr/>
        </p:nvCxnSpPr>
        <p:spPr>
          <a:xfrm flipV="1">
            <a:off x="4784466" y="3598420"/>
            <a:ext cx="452464" cy="45498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">
            <a:extLst>
              <a:ext uri="{FF2B5EF4-FFF2-40B4-BE49-F238E27FC236}">
                <a16:creationId xmlns:a16="http://schemas.microsoft.com/office/drawing/2014/main" id="{9BCC07AC-EDAF-0FD8-BBCA-56D87424E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143" y="2475649"/>
            <a:ext cx="1279810" cy="14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8807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data = happy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89945" y="1033271"/>
            <a:ext cx="3118052" cy="400110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032331" y="1044465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</a:t>
            </a:r>
            <a:r>
              <a:rPr lang="en-US" sz="2000" b="1" dirty="0">
                <a:latin typeface="Monaco" pitchFamily="2" charset="77"/>
              </a:rPr>
              <a:t>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484957-F838-D306-D07F-E64807463F1E}"/>
              </a:ext>
            </a:extLst>
          </p:cNvPr>
          <p:cNvSpPr txBox="1"/>
          <p:nvPr/>
        </p:nvSpPr>
        <p:spPr>
          <a:xfrm>
            <a:off x="1620440" y="3924533"/>
            <a:ext cx="3837814" cy="1133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dplyr</a:t>
            </a:r>
            <a:r>
              <a:rPr lang="en-US" sz="2400" dirty="0">
                <a:latin typeface="Monaco" pitchFamily="2" charset="77"/>
              </a:rPr>
              <a:t>  %&gt;%  or  |&gt;</a:t>
            </a:r>
          </a:p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  +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224522-71EC-D62B-9C46-681FB4873BA7}"/>
              </a:ext>
            </a:extLst>
          </p:cNvPr>
          <p:cNvSpPr txBox="1"/>
          <p:nvPr/>
        </p:nvSpPr>
        <p:spPr>
          <a:xfrm>
            <a:off x="2319316" y="3136612"/>
            <a:ext cx="2764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+mj-lt"/>
              </a:rPr>
              <a:t>“and then…”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2E7572C-6F79-6871-090D-0FE4BEDF1B2C}"/>
              </a:ext>
            </a:extLst>
          </p:cNvPr>
          <p:cNvSpPr/>
          <p:nvPr/>
        </p:nvSpPr>
        <p:spPr>
          <a:xfrm>
            <a:off x="7166551" y="939782"/>
            <a:ext cx="675229" cy="657788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402114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6DBF982-9084-0D3F-972E-0BED040A9259}"/>
              </a:ext>
            </a:extLst>
          </p:cNvPr>
          <p:cNvSpPr txBox="1"/>
          <p:nvPr/>
        </p:nvSpPr>
        <p:spPr>
          <a:xfrm>
            <a:off x="0" y="729990"/>
            <a:ext cx="7024765" cy="872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data = </a:t>
            </a:r>
            <a:r>
              <a:rPr lang="en-US" dirty="0">
                <a:highlight>
                  <a:srgbClr val="718BFF"/>
                </a:highlight>
                <a:latin typeface="Andale Mono" panose="020B0509000000000004" pitchFamily="49" charset="0"/>
              </a:rPr>
              <a:t>happy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x=GDP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y=happiness</a:t>
            </a:r>
            <a:r>
              <a:rPr lang="en-US" dirty="0">
                <a:latin typeface="Andale Mono" panose="020B0509000000000004" pitchFamily="49" charset="0"/>
              </a:rPr>
              <a:t>)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point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FA7EFE-BC31-59A1-0E4A-A7CDD3CF0B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1164" y="920042"/>
            <a:ext cx="5304856" cy="492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5999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6DBF982-9084-0D3F-972E-0BED040A9259}"/>
              </a:ext>
            </a:extLst>
          </p:cNvPr>
          <p:cNvSpPr txBox="1"/>
          <p:nvPr/>
        </p:nvSpPr>
        <p:spPr>
          <a:xfrm>
            <a:off x="0" y="729990"/>
            <a:ext cx="7024765" cy="1288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data = </a:t>
            </a:r>
            <a:r>
              <a:rPr lang="en-US" dirty="0">
                <a:highlight>
                  <a:srgbClr val="718BFF"/>
                </a:highlight>
                <a:latin typeface="Andale Mono" panose="020B0509000000000004" pitchFamily="49" charset="0"/>
              </a:rPr>
              <a:t>happy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x=GDP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y=happiness</a:t>
            </a:r>
            <a:r>
              <a:rPr lang="en-US" dirty="0">
                <a:latin typeface="Andale Mono" panose="020B0509000000000004" pitchFamily="49" charset="0"/>
              </a:rPr>
              <a:t>)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point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smooth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02832B-810A-0209-91D5-E10908FD50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1658" y="914400"/>
            <a:ext cx="5295636" cy="4914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549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2A687-2A07-CBC6-FE4D-C40A29C70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57" y="14270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enter for Data &amp; Visualization Sciences (CDVS)</a:t>
            </a:r>
          </a:p>
        </p:txBody>
      </p:sp>
      <p:pic>
        <p:nvPicPr>
          <p:cNvPr id="3" name="Picture 2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6651A150-CDCF-558A-C90D-5E92DB8102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91" t="10226" r="3551" b="1"/>
          <a:stretch/>
        </p:blipFill>
        <p:spPr>
          <a:xfrm>
            <a:off x="393357" y="1677536"/>
            <a:ext cx="5499330" cy="35029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66DF19-7C4A-F69A-BD5C-4403716CE044}"/>
              </a:ext>
            </a:extLst>
          </p:cNvPr>
          <p:cNvSpPr txBox="1"/>
          <p:nvPr/>
        </p:nvSpPr>
        <p:spPr>
          <a:xfrm>
            <a:off x="6732748" y="4918853"/>
            <a:ext cx="3879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</a:rPr>
              <a:t>AskData@duke.edu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itchFamily="2" charset="0"/>
            </a:endParaRPr>
          </a:p>
        </p:txBody>
      </p:sp>
      <p:pic>
        <p:nvPicPr>
          <p:cNvPr id="6" name="Picture 5" descr="Several people working at computers&#10;&#10;Description automatically generated with medium confidence">
            <a:extLst>
              <a:ext uri="{FF2B5EF4-FFF2-40B4-BE49-F238E27FC236}">
                <a16:creationId xmlns:a16="http://schemas.microsoft.com/office/drawing/2014/main" id="{A16C75BA-8D29-84F3-9236-99463AC09F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828" r="13114"/>
          <a:stretch/>
        </p:blipFill>
        <p:spPr>
          <a:xfrm>
            <a:off x="5941417" y="2244436"/>
            <a:ext cx="6250583" cy="2429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024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4F5CE-81D3-632B-534B-3419404F0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10BCE9FC-B6AB-CEF2-545C-414DB79357A5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ED5CCA3-5998-448D-6A5A-C0A14A53B3B4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FAB33BE-615A-B46D-E637-BEDD6BC0114D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F3FE84EB-FB10-315F-4BAD-544A23B4DAE7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5DABFA-D9F1-0640-3605-04F57B3656C4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26EA6F-A0A0-3523-C94C-96439D2EFC86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D3C590-A9D9-83F6-7760-62B81ED2EF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1164" y="920042"/>
            <a:ext cx="5304856" cy="492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6621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871F4E6-D0EC-E4C2-9E5B-5CCF2222A1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1164" y="920042"/>
            <a:ext cx="5304856" cy="492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6590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5FD72A-D335-1A93-7C22-19E91668E913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FFE5218-AD2E-9C43-1F6F-DCDB77928254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55DE3A5-34D3-F716-FF9B-7FBE6C8AEA1F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06EA73A-E150-F9BA-EE67-0AED259F8D9E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B39C7D-5FD7-925C-C29C-8E3CEAB825F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418030-7A10-B0BB-4EAF-35A1363633BF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EECDA99-ECBC-F68E-9B5A-29E9062E14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1164" y="920042"/>
            <a:ext cx="5304856" cy="492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0526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FD23E45C-1835-2125-B552-7B40BC0DA633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CF40057C-B58A-0042-E947-910E7268438A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8DF80D-DFD2-6719-3375-97E82429F232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28F9577-3F64-C7D7-34C0-8D508ABED301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8C0027E-88D5-1DE1-D1E8-E99FC1C776EB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9434B9-2611-1889-0C21-A0646D3F7BED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DD3EE8-9196-B166-3547-F6F68D4CF3D9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543F874-C7E6-7EE1-1C43-C462E8451C2A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71CF7F4-A352-A03B-FD18-691B8D2D8C41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6B3F828-E665-0F72-9BDD-16B2EF87A1EC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A7FE53-18F1-83B7-1C8B-9A0508F4EF0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FEA660-F637-5BFE-2E37-7ABF9B7AEFF4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CDD0912-9CA0-FEEF-3136-2F1773A4EF52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31DB3D1-C019-0DDA-E2FF-E929897F0E11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B15CFD53-EEB2-10C7-0F83-BA101EEF525D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8CDC34F9-0A5B-0BC8-7BE8-E884B712301A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65E425-57A6-6421-B597-7A428C287022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F778310-1352-A4C7-E948-4624A67A21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Multiply 33">
            <a:extLst>
              <a:ext uri="{FF2B5EF4-FFF2-40B4-BE49-F238E27FC236}">
                <a16:creationId xmlns:a16="http://schemas.microsoft.com/office/drawing/2014/main" id="{689F85D3-CB37-ED7E-C1E1-324CE3AF46B2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5" name="Multiply 34">
            <a:extLst>
              <a:ext uri="{FF2B5EF4-FFF2-40B4-BE49-F238E27FC236}">
                <a16:creationId xmlns:a16="http://schemas.microsoft.com/office/drawing/2014/main" id="{FCBE5E06-DF07-E7D4-1211-EE7CD21FC066}"/>
              </a:ext>
            </a:extLst>
          </p:cNvPr>
          <p:cNvSpPr/>
          <p:nvPr/>
        </p:nvSpPr>
        <p:spPr>
          <a:xfrm>
            <a:off x="1668185" y="1015730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6" name="Multiply 35">
            <a:extLst>
              <a:ext uri="{FF2B5EF4-FFF2-40B4-BE49-F238E27FC236}">
                <a16:creationId xmlns:a16="http://schemas.microsoft.com/office/drawing/2014/main" id="{8E0AF13E-D75A-01C9-E5D9-2A8A704473B0}"/>
              </a:ext>
            </a:extLst>
          </p:cNvPr>
          <p:cNvSpPr/>
          <p:nvPr/>
        </p:nvSpPr>
        <p:spPr>
          <a:xfrm>
            <a:off x="2619881" y="1030467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-8186" y="244021"/>
            <a:ext cx="6475433" cy="2927107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EBA0D3-CE8B-576D-270D-DD02341261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1164" y="920042"/>
            <a:ext cx="5304856" cy="492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2266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9688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%&gt;%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10827" y="136600"/>
            <a:ext cx="6475433" cy="4047345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04E0841-294C-D738-5237-567BFB2A53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1164" y="920042"/>
            <a:ext cx="5304856" cy="492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604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8AFC596-D641-220D-2E8B-437D9E26AD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1164" y="920042"/>
            <a:ext cx="5304856" cy="492281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9688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%&gt;%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C0B0BEB-8575-C866-472D-4C5372F307B1}"/>
              </a:ext>
            </a:extLst>
          </p:cNvPr>
          <p:cNvSpPr/>
          <p:nvPr/>
        </p:nvSpPr>
        <p:spPr>
          <a:xfrm>
            <a:off x="3650602" y="5493894"/>
            <a:ext cx="3757534" cy="88442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se all produce the same figure!</a:t>
            </a:r>
          </a:p>
        </p:txBody>
      </p:sp>
    </p:spTree>
    <p:extLst>
      <p:ext uri="{BB962C8B-B14F-4D97-AF65-F5344CB8AC3E}">
        <p14:creationId xmlns:p14="http://schemas.microsoft.com/office/powerpoint/2010/main" val="11054995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C0987F-914C-AAF6-3C61-9651156B5CCE}"/>
              </a:ext>
            </a:extLst>
          </p:cNvPr>
          <p:cNvSpPr txBox="1"/>
          <p:nvPr/>
        </p:nvSpPr>
        <p:spPr>
          <a:xfrm>
            <a:off x="559776" y="3697375"/>
            <a:ext cx="81096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(data = </a:t>
            </a:r>
            <a:r>
              <a:rPr lang="en-US" sz="2400" dirty="0" err="1">
                <a:latin typeface="Monaco" pitchFamily="2" charset="77"/>
              </a:rPr>
              <a:t>yourData</a:t>
            </a:r>
            <a:r>
              <a:rPr lang="en-US" sz="2400" dirty="0">
                <a:latin typeface="Monaco" pitchFamily="2" charset="77"/>
              </a:rPr>
              <a:t>, 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aes</a:t>
            </a:r>
            <a:r>
              <a:rPr lang="en-US" sz="2400" dirty="0">
                <a:latin typeface="Monaco" pitchFamily="2" charset="77"/>
              </a:rPr>
              <a:t>(x = </a:t>
            </a:r>
            <a:r>
              <a:rPr lang="en-US" sz="2400" dirty="0" err="1">
                <a:latin typeface="Monaco" pitchFamily="2" charset="77"/>
              </a:rPr>
              <a:t>xaxis,y</a:t>
            </a:r>
            <a:r>
              <a:rPr lang="en-US" sz="2400" dirty="0">
                <a:latin typeface="Monaco" pitchFamily="2" charset="77"/>
              </a:rPr>
              <a:t> = </a:t>
            </a:r>
            <a:r>
              <a:rPr lang="en-US" sz="2400" dirty="0" err="1">
                <a:latin typeface="Monaco" pitchFamily="2" charset="77"/>
              </a:rPr>
              <a:t>yaxis</a:t>
            </a:r>
            <a:r>
              <a:rPr lang="en-US" sz="2400" dirty="0">
                <a:latin typeface="Monaco" pitchFamily="2" charset="77"/>
              </a:rPr>
              <a:t>))+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geom_point</a:t>
            </a:r>
            <a:r>
              <a:rPr lang="en-US" sz="2400" dirty="0">
                <a:latin typeface="Monaco" pitchFamily="2" charset="77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71CEC0C7-1A8A-D97B-A0EE-EA5E277E5E12}"/>
              </a:ext>
            </a:extLst>
          </p:cNvPr>
          <p:cNvSpPr/>
          <p:nvPr/>
        </p:nvSpPr>
        <p:spPr>
          <a:xfrm>
            <a:off x="1784449" y="4082863"/>
            <a:ext cx="4541195" cy="508787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3640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C33F7-0AE3-BB04-BBA0-3C3AB64FE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2E3E4A31-40AE-31A8-DC3E-A6A2DF80EA4F}"/>
              </a:ext>
            </a:extLst>
          </p:cNvPr>
          <p:cNvSpPr txBox="1"/>
          <p:nvPr/>
        </p:nvSpPr>
        <p:spPr>
          <a:xfrm>
            <a:off x="559776" y="3697375"/>
            <a:ext cx="1144172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Andale Mono" panose="020B0509000000000004" pitchFamily="49" charset="0"/>
              </a:rPr>
              <a:t>ggplot</a:t>
            </a:r>
            <a:r>
              <a:rPr lang="en-US" sz="2400" dirty="0">
                <a:latin typeface="Andale Mono" panose="020B0509000000000004" pitchFamily="49" charset="0"/>
              </a:rPr>
              <a:t>(data = happy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aes</a:t>
            </a:r>
            <a:r>
              <a:rPr lang="en-US" sz="2400" dirty="0">
                <a:latin typeface="Andale Mono" panose="020B0509000000000004" pitchFamily="49" charset="0"/>
              </a:rPr>
              <a:t>(x = </a:t>
            </a:r>
            <a:r>
              <a:rPr lang="en-US" sz="2400" dirty="0" err="1">
                <a:latin typeface="Andale Mono" panose="020B0509000000000004" pitchFamily="49" charset="0"/>
              </a:rPr>
              <a:t>happiness,y</a:t>
            </a:r>
            <a:r>
              <a:rPr lang="en-US" sz="2400" dirty="0">
                <a:latin typeface="Andale Mono" panose="020B0509000000000004" pitchFamily="49" charset="0"/>
              </a:rPr>
              <a:t> = GDP,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hape=     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ize=      , 			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col=	      ))+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geom_point</a:t>
            </a:r>
            <a:r>
              <a:rPr lang="en-US" sz="2400" dirty="0">
                <a:latin typeface="Andale Mono" panose="020B0509000000000004" pitchFamily="49" charset="0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  <a:p>
            <a:endParaRPr lang="en-US" sz="2400" dirty="0">
              <a:latin typeface="Andale Mono" panose="020B0509000000000004" pitchFamily="49" charset="0"/>
            </a:endParaRPr>
          </a:p>
          <a:p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066AB6-B47D-A12B-54AF-1236C4AA27A1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F1EB38A-2536-B4AC-6FF6-B9CDA6BDA5ED}"/>
              </a:ext>
            </a:extLst>
          </p:cNvPr>
          <p:cNvSpPr/>
          <p:nvPr/>
        </p:nvSpPr>
        <p:spPr>
          <a:xfrm>
            <a:off x="3582527" y="4557713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192DBC46-6E71-7315-0BB7-EBC3A94B1BE6}"/>
              </a:ext>
            </a:extLst>
          </p:cNvPr>
          <p:cNvSpPr/>
          <p:nvPr/>
        </p:nvSpPr>
        <p:spPr>
          <a:xfrm>
            <a:off x="3427354" y="4909619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86A35964-094C-3F51-4A61-D95771851E4D}"/>
              </a:ext>
            </a:extLst>
          </p:cNvPr>
          <p:cNvSpPr/>
          <p:nvPr/>
        </p:nvSpPr>
        <p:spPr>
          <a:xfrm>
            <a:off x="3427354" y="5261525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9720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213" y="1005549"/>
            <a:ext cx="8772540" cy="18971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2CC016-5D24-70D6-516F-DEECC2D1282D}"/>
              </a:ext>
            </a:extLst>
          </p:cNvPr>
          <p:cNvSpPr/>
          <p:nvPr/>
        </p:nvSpPr>
        <p:spPr>
          <a:xfrm>
            <a:off x="3972394" y="1080499"/>
            <a:ext cx="1573968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06DF2-39D6-93BF-B91E-D6A3FA8B2B2F}"/>
              </a:ext>
            </a:extLst>
          </p:cNvPr>
          <p:cNvSpPr/>
          <p:nvPr/>
        </p:nvSpPr>
        <p:spPr>
          <a:xfrm>
            <a:off x="2535837" y="1080499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24992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5201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4F4FC3-DA7E-32D7-618E-EDF0A1B53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A5FE6F5-B4DA-43F5-327D-6EB7A6C21777}"/>
              </a:ext>
            </a:extLst>
          </p:cNvPr>
          <p:cNvSpPr txBox="1"/>
          <p:nvPr/>
        </p:nvSpPr>
        <p:spPr>
          <a:xfrm>
            <a:off x="926629" y="3953403"/>
            <a:ext cx="72551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</a:t>
            </a:r>
          </a:p>
          <a:p>
            <a:r>
              <a:rPr lang="en-US" sz="3200" b="1" dirty="0">
                <a:latin typeface="Helvetica" pitchFamily="2" charset="0"/>
              </a:rPr>
              <a:t>“Grammar of Graphics”</a:t>
            </a:r>
            <a:endParaRPr lang="en-US" sz="2400" b="1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5A79B9A9-8F80-68BC-1F29-C0B84CCA2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7817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E9B99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E9B994"/>
                </a:highlight>
                <a:latin typeface="Monaco" pitchFamily="2" charset="77"/>
              </a:rPr>
              <a:t>(col=continent</a:t>
            </a:r>
            <a:r>
              <a:rPr lang="en-US" dirty="0">
                <a:latin typeface="Monaco" pitchFamily="2" charset="77"/>
              </a:rPr>
              <a:t>))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6171E0-CF1E-27ED-0CAC-0EE556555F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7588" y="719528"/>
            <a:ext cx="6474753" cy="590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65478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64695" y="2394422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C62D22E-292E-258C-28D9-731EABF7C185}"/>
              </a:ext>
            </a:extLst>
          </p:cNvPr>
          <p:cNvSpPr/>
          <p:nvPr/>
        </p:nvSpPr>
        <p:spPr>
          <a:xfrm>
            <a:off x="468999" y="807148"/>
            <a:ext cx="5716186" cy="145192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76653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489052" y="628630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25280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3364788" y="647590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20878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‘blue’)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  <p:pic>
        <p:nvPicPr>
          <p:cNvPr id="9" name="Picture 8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BBBEE64D-CDC6-F782-5AB0-DD1DC01E8F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24" t="1" r="35274" b="-12316"/>
          <a:stretch/>
        </p:blipFill>
        <p:spPr>
          <a:xfrm>
            <a:off x="856335" y="864852"/>
            <a:ext cx="2946946" cy="22428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7958A1-42A2-1136-0D7B-5C9F2EF46E86}"/>
              </a:ext>
            </a:extLst>
          </p:cNvPr>
          <p:cNvSpPr txBox="1"/>
          <p:nvPr/>
        </p:nvSpPr>
        <p:spPr>
          <a:xfrm>
            <a:off x="3580694" y="1018077"/>
            <a:ext cx="107449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err="1">
                <a:latin typeface="Andale Mono" panose="020B0509000000000004" pitchFamily="49" charset="0"/>
              </a:rPr>
              <a:t>colour</a:t>
            </a:r>
            <a:endParaRPr lang="en-US" sz="1600" dirty="0">
              <a:latin typeface="Andale Mono" panose="020B0509000000000004" pitchFamily="49" charset="0"/>
            </a:endParaRP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FF343ACF-7A9B-2BEC-3DF2-752180AC6A55}"/>
              </a:ext>
            </a:extLst>
          </p:cNvPr>
          <p:cNvSpPr/>
          <p:nvPr/>
        </p:nvSpPr>
        <p:spPr>
          <a:xfrm>
            <a:off x="3803282" y="1018078"/>
            <a:ext cx="951338" cy="1846658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50926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2B4B5B-02B0-951F-51BC-F914190DECE3}"/>
              </a:ext>
            </a:extLst>
          </p:cNvPr>
          <p:cNvSpPr txBox="1"/>
          <p:nvPr/>
        </p:nvSpPr>
        <p:spPr>
          <a:xfrm>
            <a:off x="1064712" y="2918564"/>
            <a:ext cx="41586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an also set conditional formatting. </a:t>
            </a:r>
          </a:p>
          <a:p>
            <a:endParaRPr lang="en-US" dirty="0"/>
          </a:p>
          <a:p>
            <a:r>
              <a:rPr lang="en-US" dirty="0"/>
              <a:t>e.g. Use different colors for points where happiness is &gt; 5</a:t>
            </a:r>
          </a:p>
        </p:txBody>
      </p:sp>
    </p:spTree>
    <p:extLst>
      <p:ext uri="{BB962C8B-B14F-4D97-AF65-F5344CB8AC3E}">
        <p14:creationId xmlns:p14="http://schemas.microsoft.com/office/powerpoint/2010/main" val="37669493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33659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happiness &gt; 5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5FD29-C4BC-B23E-FC61-A01A49604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5941" y="659597"/>
            <a:ext cx="5780675" cy="553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2257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1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09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86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44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05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42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62266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22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22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22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22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22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22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285E69B7-4A75-B36F-30A6-C48A0C0D6C5E}"/>
              </a:ext>
            </a:extLst>
          </p:cNvPr>
          <p:cNvSpPr/>
          <p:nvPr/>
        </p:nvSpPr>
        <p:spPr>
          <a:xfrm rot="1070933" flipH="1">
            <a:off x="9522326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34EF54-A298-FC5E-981C-587699EB5B2A}"/>
              </a:ext>
            </a:extLst>
          </p:cNvPr>
          <p:cNvSpPr txBox="1"/>
          <p:nvPr/>
        </p:nvSpPr>
        <p:spPr>
          <a:xfrm>
            <a:off x="7911170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pic>
        <p:nvPicPr>
          <p:cNvPr id="6" name="Picture 5" descr="A diagram of a mathematical equation&#10;&#10;Description automatically generated with medium confidence">
            <a:extLst>
              <a:ext uri="{FF2B5EF4-FFF2-40B4-BE49-F238E27FC236}">
                <a16:creationId xmlns:a16="http://schemas.microsoft.com/office/drawing/2014/main" id="{1CD69B61-59DE-FEA1-1285-0CFA7CA809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71" t="40580" r="8321" b="6779"/>
          <a:stretch/>
        </p:blipFill>
        <p:spPr>
          <a:xfrm>
            <a:off x="142089" y="2806074"/>
            <a:ext cx="7898802" cy="23450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4B129D9-E787-8888-55D1-444B64B99C3E}"/>
              </a:ext>
            </a:extLst>
          </p:cNvPr>
          <p:cNvSpPr txBox="1"/>
          <p:nvPr/>
        </p:nvSpPr>
        <p:spPr>
          <a:xfrm>
            <a:off x="413360" y="601249"/>
            <a:ext cx="6438378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6674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7435AA8-7215-19F8-690B-413F1F147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B91354B-536D-DD97-83A0-2C7AC64DB44F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CD0EEAD0-3F0D-D681-AD3B-261859EC7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015385D-2C92-9DF7-28BA-0D67FB3A0973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7985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1145195" y="5040518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3929D0B4-7CA5-77B5-5CAB-7891394DE1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0E29EAD-7BE7-325C-A367-1D97197F5934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1867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940712" y="122811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940712" y="191632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940712" y="260158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940712" y="32616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940712" y="405555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940712" y="483838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830E48-7643-8F34-8493-9E9FC85A1F9B}"/>
              </a:ext>
            </a:extLst>
          </p:cNvPr>
          <p:cNvSpPr txBox="1"/>
          <p:nvPr/>
        </p:nvSpPr>
        <p:spPr>
          <a:xfrm>
            <a:off x="926629" y="3953403"/>
            <a:ext cx="725510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</a:t>
            </a:r>
          </a:p>
          <a:p>
            <a:r>
              <a:rPr lang="en-US" sz="3200" b="1" dirty="0">
                <a:latin typeface="Helvetica" pitchFamily="2" charset="0"/>
              </a:rPr>
              <a:t>“Grammar of Graphics”</a:t>
            </a:r>
          </a:p>
          <a:p>
            <a:endParaRPr lang="en-US" sz="3200" dirty="0">
              <a:latin typeface="Helvetica" pitchFamily="2" charset="0"/>
            </a:endParaRPr>
          </a:p>
          <a:p>
            <a:r>
              <a:rPr lang="en-US" sz="2400" dirty="0">
                <a:latin typeface="Helvetica" pitchFamily="2" charset="0"/>
              </a:rPr>
              <a:t>Graphics are built by layering elements</a:t>
            </a:r>
          </a:p>
          <a:p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2B10A4A-FB2C-32E1-CEDF-971FA7405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304554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CE5D8DC-12C1-64B2-BFA0-F7FE6E8497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51CC949-4FCE-CAFE-72AD-9EA78BF0B846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4F6151-EE0F-12C5-6CDB-C56B5E387C5B}"/>
              </a:ext>
            </a:extLst>
          </p:cNvPr>
          <p:cNvSpPr txBox="1"/>
          <p:nvPr/>
        </p:nvSpPr>
        <p:spPr>
          <a:xfrm>
            <a:off x="413360" y="2758587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14CE44-C350-74BA-46E1-03E72317B4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6883" y="978077"/>
            <a:ext cx="6444893" cy="527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67950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71E74-B32A-F32C-82AB-E96342D90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1D3B52D-E478-6B71-6F2F-9BB893AE420D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31A14C-DA5D-A134-90E0-2367AAE5B9FD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1E28C209-7CA2-28FE-7753-02346874A9C0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B732AD89-7713-653C-0D40-DDE21D825153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9B92AA7-1792-70AF-6296-C6B4D635C879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AF7FE3D6-2909-0589-1208-3E32767013FF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8D6EB2-8CED-B892-FBE2-CCB24F4BA430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5A7328-390E-187D-084C-8B0AFF576387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EC36EB-00B2-CA59-964D-73EDF89E226E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1F6BD6-E5C5-6316-4307-F7C6507DF97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55D9DB-3FFB-A794-C9F1-B51F8F038E5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AEE151B-55CF-C337-6F7B-C313F1DD22A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AAC1658-E83C-42F3-F314-C82A90408EC3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B2B678-7777-0D95-236A-5E4D90F0CA4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7568BE-D73F-BE5D-00DE-3184699131A0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285BAD-FB58-8423-F013-79E1EF22864C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>
                    <a:alpha val="25172"/>
                  </a:srgbClr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5172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88233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54DBD-C0A7-A7C6-4619-ACFA9A3A0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05B18608-0AD0-2ECC-7357-4C5967778F0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2DF4D68-307A-E491-AF8F-57FDF6ADBFFC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E896F3F2-8868-DFDE-5B94-AB244E48747B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111BBD2A-7AB6-C82D-9A96-BFC2DB02A08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AB9BDEA-A4F6-FF86-A26F-6B67BDF28AD3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7C8A4204-AEA5-4333-3CC1-EDF86A22886D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BA3D3A2-95EB-EF5B-C14A-082264AC984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84C4A6-5774-6BB1-F975-E6FA4611845A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81A7E6-9475-0370-CAC1-74C9550F7E40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33B478-C366-0B58-68ED-793672B2F056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AFAC4E-2725-CC20-9D56-F4F4ADE1903F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6C7966-4E64-5C45-6D2B-E072E175247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0F79A07-4711-F4CA-6716-349B3749EF62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3883E8-A7C4-EFAF-D53F-D81FC2AB6C0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1722A4-02C4-3C9E-E783-9DCBAA41144F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6C87C1-5BA0-6540-7C7E-B1ECA4195BD8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9225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0078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5186F-1DE3-DE6C-2274-A772094D3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256E330-3084-9E4B-BDFB-55C8F9ED711C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65CDD64-B2D8-6FE2-86EF-99CBA4EF5D37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9EEFC0A8-23CD-1632-4519-2DC78611281A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8AFC434-DA14-BE11-A353-B38D5D36B09B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4238B04-E889-9ACE-D9FE-E662D77C2B17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96FF686-6098-712F-48CD-E9B708FFF7A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54D2C-656A-77FF-81A6-F58D1D117823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949A8F-EC46-8ED7-E0B3-B03B20DF00E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EDD186-255C-B6EF-5A2F-51B6DDBDF5FB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F1D762-9772-9FDD-9BD5-E1D5DF62B819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5C1F02-1B08-7A1B-E01A-3DB1BCF1C1A6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58F0C5-E580-50EA-B683-3207272ECA9F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EA9A341-BCCC-4256-BF80-CA273390F4B9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B5D7E-2704-984F-35DF-694AF01FE3BF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CE9BA8-16CA-20AA-A354-6AC8AD7FBA65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113588-31B1-65E2-FFA6-DA99A5E383F4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9687184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6F9EE-8AD0-F1E2-3CA4-8CD747083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5F43AB7-6177-601F-9A32-E1BAC1D1199D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304188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1C382A-2F27-7905-2AAA-831C1506C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FCBE3A-0496-C30A-0AF2-D756CB7B8586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C0AA41-AAD3-F502-A048-5FACF58BACF4}"/>
              </a:ext>
            </a:extLst>
          </p:cNvPr>
          <p:cNvSpPr txBox="1"/>
          <p:nvPr/>
        </p:nvSpPr>
        <p:spPr>
          <a:xfrm>
            <a:off x="4696691" y="2409104"/>
            <a:ext cx="3172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ll cover these during the live demo portion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9D02FEA-2286-8AB8-CEEB-903AA3E142AC}"/>
              </a:ext>
            </a:extLst>
          </p:cNvPr>
          <p:cNvSpPr/>
          <p:nvPr/>
        </p:nvSpPr>
        <p:spPr>
          <a:xfrm>
            <a:off x="1205345" y="2189018"/>
            <a:ext cx="3318726" cy="1468582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3942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D5303D-98CA-8DB6-35EE-D6DE5B897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C0496A2-66B3-0C21-D9CC-57DCD67F823A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6E4613-C646-A440-106F-123677185C13}"/>
              </a:ext>
            </a:extLst>
          </p:cNvPr>
          <p:cNvSpPr txBox="1"/>
          <p:nvPr/>
        </p:nvSpPr>
        <p:spPr>
          <a:xfrm>
            <a:off x="4488872" y="3607376"/>
            <a:ext cx="31726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 want to spend some time talking about color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ADB5183-039B-F296-A816-1D04681181D9}"/>
              </a:ext>
            </a:extLst>
          </p:cNvPr>
          <p:cNvSpPr/>
          <p:nvPr/>
        </p:nvSpPr>
        <p:spPr>
          <a:xfrm>
            <a:off x="1108363" y="3529168"/>
            <a:ext cx="2757055" cy="987414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2787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556ACE-1203-C9ED-4B8A-795020342F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0770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8A09B2-BFEB-05F1-0B7C-6180FFF79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626" y="365125"/>
            <a:ext cx="7904747" cy="1325563"/>
          </a:xfrm>
        </p:spPr>
        <p:txBody>
          <a:bodyPr vert="horz"/>
          <a:lstStyle/>
          <a:p>
            <a:r>
              <a:rPr lang="en-US" dirty="0"/>
              <a:t>ggplot2 default colors for factor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832FEB0-01EA-2004-C5F6-22A133DA1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453" y="1690688"/>
            <a:ext cx="5709652" cy="464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69384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DA8C56-97DC-3F42-75F8-09905DC3998E}"/>
              </a:ext>
            </a:extLst>
          </p:cNvPr>
          <p:cNvSpPr txBox="1"/>
          <p:nvPr/>
        </p:nvSpPr>
        <p:spPr>
          <a:xfrm>
            <a:off x="6096000" y="4957011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ivergent color scal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CDA90EA-116A-593D-756A-7124DD2B8F8A}"/>
              </a:ext>
            </a:extLst>
          </p:cNvPr>
          <p:cNvSpPr/>
          <p:nvPr/>
        </p:nvSpPr>
        <p:spPr>
          <a:xfrm>
            <a:off x="580768" y="3504981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58C5F-0393-D9AA-A465-C00792DE1B54}"/>
              </a:ext>
            </a:extLst>
          </p:cNvPr>
          <p:cNvSpPr txBox="1"/>
          <p:nvPr/>
        </p:nvSpPr>
        <p:spPr>
          <a:xfrm>
            <a:off x="6096000" y="1900989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onochrome sc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512C432-962D-5E75-05A8-92C960351965}"/>
              </a:ext>
            </a:extLst>
          </p:cNvPr>
          <p:cNvSpPr txBox="1"/>
          <p:nvPr/>
        </p:nvSpPr>
        <p:spPr>
          <a:xfrm>
            <a:off x="6096000" y="3785067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Qualitative scales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21439114-4EE5-ADE6-695B-02F66D0CEFEF}"/>
              </a:ext>
            </a:extLst>
          </p:cNvPr>
          <p:cNvSpPr/>
          <p:nvPr/>
        </p:nvSpPr>
        <p:spPr>
          <a:xfrm>
            <a:off x="468473" y="869435"/>
            <a:ext cx="8819906" cy="2635545"/>
          </a:xfrm>
          <a:prstGeom prst="roundRect">
            <a:avLst>
              <a:gd name="adj" fmla="val 4005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1519762-F7FA-409F-64E3-A4EA96B96D5D}"/>
              </a:ext>
            </a:extLst>
          </p:cNvPr>
          <p:cNvSpPr/>
          <p:nvPr/>
        </p:nvSpPr>
        <p:spPr>
          <a:xfrm>
            <a:off x="468473" y="3504980"/>
            <a:ext cx="8819906" cy="1225442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AB85911B-74BB-5EED-55D8-5EB80B19B9A6}"/>
              </a:ext>
            </a:extLst>
          </p:cNvPr>
          <p:cNvSpPr/>
          <p:nvPr/>
        </p:nvSpPr>
        <p:spPr>
          <a:xfrm>
            <a:off x="468473" y="4730421"/>
            <a:ext cx="8819906" cy="1410103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98512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D1B47D-7AF4-55AC-91C4-8C0518C85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4FC02A5-1B78-CC33-8416-064BBF3DFD0A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F3563F-BB30-1157-83E6-B4980E7450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48883"/>
            <a:ext cx="4378036" cy="45068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97E0745-F898-2C68-671C-EEEDA2236972}"/>
              </a:ext>
            </a:extLst>
          </p:cNvPr>
          <p:cNvSpPr txBox="1"/>
          <p:nvPr/>
        </p:nvSpPr>
        <p:spPr>
          <a:xfrm>
            <a:off x="5696768" y="647016"/>
            <a:ext cx="60980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+</a:t>
            </a:r>
          </a:p>
          <a:p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</a:t>
            </a:r>
            <a:endParaRPr lang="en-US" sz="1600" dirty="0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93702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0F0F7216-9F54-1936-C6C6-6B87259F75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361"/>
          <a:stretch/>
        </p:blipFill>
        <p:spPr bwMode="auto">
          <a:xfrm>
            <a:off x="1" y="423748"/>
            <a:ext cx="5907314" cy="5294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">
            <a:extLst>
              <a:ext uri="{FF2B5EF4-FFF2-40B4-BE49-F238E27FC236}">
                <a16:creationId xmlns:a16="http://schemas.microsoft.com/office/drawing/2014/main" id="{137E1BB5-ADB0-B489-ED47-D874469575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77" b="5270"/>
          <a:stretch/>
        </p:blipFill>
        <p:spPr bwMode="auto">
          <a:xfrm>
            <a:off x="5907315" y="886993"/>
            <a:ext cx="6095999" cy="3597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Image">
            <a:extLst>
              <a:ext uri="{FF2B5EF4-FFF2-40B4-BE49-F238E27FC236}">
                <a16:creationId xmlns:a16="http://schemas.microsoft.com/office/drawing/2014/main" id="{FF5432DB-0D04-C120-171C-260AE3F1B1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467"/>
          <a:stretch/>
        </p:blipFill>
        <p:spPr bwMode="auto">
          <a:xfrm>
            <a:off x="5690735" y="6314879"/>
            <a:ext cx="6312579" cy="54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16175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A6EC6-8BF2-3758-5E0D-31A27F2A1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86C9CA-C3AB-FFFC-7B65-B42D1DF9B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A5D16B-BB69-796D-EC69-2694AB1E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848E197-E9C5-8086-42EE-5F45EC02E1C3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7E0AF67-4B26-0187-29C6-54FBEFBA20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CD617B-9F63-CE4E-33D6-CF1882E16C9E}"/>
              </a:ext>
            </a:extLst>
          </p:cNvPr>
          <p:cNvSpPr txBox="1"/>
          <p:nvPr/>
        </p:nvSpPr>
        <p:spPr>
          <a:xfrm>
            <a:off x="5696768" y="435163"/>
            <a:ext cx="6495232" cy="776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gplot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happy,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      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eom_bar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</a:t>
            </a:r>
            <a:r>
              <a:rPr lang="en-US" b="1" dirty="0" err="1">
                <a:latin typeface="Monaco" pitchFamily="2" charset="77"/>
              </a:rPr>
              <a:t>aes</a:t>
            </a:r>
            <a:r>
              <a:rPr lang="en-US" b="1" dirty="0">
                <a:latin typeface="Monaco" pitchFamily="2" charset="77"/>
              </a:rPr>
              <a:t>(fill=continent==‘Asia’)</a:t>
            </a:r>
            <a:r>
              <a:rPr lang="en-US" dirty="0">
                <a:latin typeface="Monaco" pitchFamily="2" charset="7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7178997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7A5D16B-BB69-796D-EC69-2694AB1E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290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B37D857D-282D-6CFC-F890-3EC83B3A36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53D876-76A3-7436-11FB-A233EC51B1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0935" y="2000733"/>
            <a:ext cx="5409723" cy="4375262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370F150-9EA6-9182-EED9-8E016CB2FABB}"/>
              </a:ext>
            </a:extLst>
          </p:cNvPr>
          <p:cNvSpPr/>
          <p:nvPr/>
        </p:nvSpPr>
        <p:spPr>
          <a:xfrm>
            <a:off x="483518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42856A-4B3F-2BA9-9214-B8787A75F9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ED986FE-A25C-1E99-4EBB-FB00B10895A1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‘Asia’))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10853648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53BBEC2B-7AF4-BEC3-6FAD-3098F15FC7E7}"/>
              </a:ext>
            </a:extLst>
          </p:cNvPr>
          <p:cNvSpPr/>
          <p:nvPr/>
        </p:nvSpPr>
        <p:spPr>
          <a:xfrm>
            <a:off x="454545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611CF0-8BC9-8EA6-7284-6FE9BEB36A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962" y="2014962"/>
            <a:ext cx="5467669" cy="44221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1DC1040-E3EF-CB40-CAA7-2DB826BEE6F0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‘Asia’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  <a:r>
              <a:rPr lang="en-US" dirty="0" err="1">
                <a:latin typeface="Monaco" pitchFamily="2" charset="77"/>
              </a:rPr>
              <a:t>scale_fill_brewer</a:t>
            </a:r>
            <a:r>
              <a:rPr lang="en-US" dirty="0">
                <a:latin typeface="Monaco" pitchFamily="2" charset="77"/>
              </a:rPr>
              <a:t>(palette = “Accent”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D67F92-F2BC-AD31-F7D2-129007D610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5545" y="1708896"/>
            <a:ext cx="5939281" cy="4674979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033FA5D-696D-23C1-E6B1-B6B264C57D49}"/>
              </a:ext>
            </a:extLst>
          </p:cNvPr>
          <p:cNvSpPr/>
          <p:nvPr/>
        </p:nvSpPr>
        <p:spPr>
          <a:xfrm>
            <a:off x="6668248" y="1193526"/>
            <a:ext cx="5288974" cy="473805"/>
          </a:xfrm>
          <a:prstGeom prst="roundRect">
            <a:avLst/>
          </a:prstGeom>
          <a:noFill/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49828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79284-0A37-601D-6A73-E641B89F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B242FE50-3C38-ABF7-16DD-6586AE93F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904EC1-D388-BAFF-D257-AB327BA9CEAB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43B17020-A4B0-791B-CF4B-CAC85F81C2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2697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4A9268DB-AF1E-575F-51FC-9FF8E67C0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B8C26B2-8BAC-F2CA-F1ED-660F28ACB029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125F49C6-3F69-C6BC-631D-29DAA2C5B3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8CEC680-516A-592B-5C48-A7747F62EFB5}"/>
              </a:ext>
            </a:extLst>
          </p:cNvPr>
          <p:cNvSpPr/>
          <p:nvPr/>
        </p:nvSpPr>
        <p:spPr>
          <a:xfrm>
            <a:off x="7295611" y="2835305"/>
            <a:ext cx="854476" cy="448192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A9EFB89-E7A7-FF7E-061A-7FFD29C8FC24}"/>
              </a:ext>
            </a:extLst>
          </p:cNvPr>
          <p:cNvSpPr/>
          <p:nvPr/>
        </p:nvSpPr>
        <p:spPr>
          <a:xfrm>
            <a:off x="0" y="2340864"/>
            <a:ext cx="4313873" cy="1088136"/>
          </a:xfrm>
          <a:prstGeom prst="roundRect">
            <a:avLst/>
          </a:prstGeom>
          <a:solidFill>
            <a:schemeClr val="bg1"/>
          </a:solidFill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4AE7A29-741C-081D-2A4B-E2F46D8007B5}"/>
              </a:ext>
            </a:extLst>
          </p:cNvPr>
          <p:cNvSpPr/>
          <p:nvPr/>
        </p:nvSpPr>
        <p:spPr>
          <a:xfrm>
            <a:off x="7295611" y="6400800"/>
            <a:ext cx="854476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0E31A8-0757-DDCB-C55E-C4A18A579374}"/>
              </a:ext>
            </a:extLst>
          </p:cNvPr>
          <p:cNvSpPr/>
          <p:nvPr/>
        </p:nvSpPr>
        <p:spPr>
          <a:xfrm>
            <a:off x="4453309" y="6454064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59B3D18-CB62-92A3-FAED-FDF6DBD9FB10}"/>
              </a:ext>
            </a:extLst>
          </p:cNvPr>
          <p:cNvSpPr/>
          <p:nvPr/>
        </p:nvSpPr>
        <p:spPr>
          <a:xfrm>
            <a:off x="4453309" y="2902219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1AC9AF-0637-B8B2-1226-439910BB75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758" b="10778"/>
          <a:stretch/>
        </p:blipFill>
        <p:spPr>
          <a:xfrm>
            <a:off x="86817" y="2618698"/>
            <a:ext cx="4097256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7474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4EBB6-690A-330B-6E05-8DB0B3EDB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AB5F6BD-3050-0DA8-1CEA-1D86798AD508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F750623-6D99-B260-8061-A916B5357D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28122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FB42B53C-A769-1F23-A00B-581DA3B94D5E}"/>
              </a:ext>
            </a:extLst>
          </p:cNvPr>
          <p:cNvSpPr/>
          <p:nvPr/>
        </p:nvSpPr>
        <p:spPr>
          <a:xfrm>
            <a:off x="950529" y="3091165"/>
            <a:ext cx="4812710" cy="393192"/>
          </a:xfrm>
          <a:prstGeom prst="roundRect">
            <a:avLst/>
          </a:prstGeom>
          <a:noFill/>
          <a:ln w="19050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C760A1F6-00A4-E2AA-6296-133FB8704C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574644-5868-21FE-BE71-059382DEF70B}"/>
              </a:ext>
            </a:extLst>
          </p:cNvPr>
          <p:cNvSpPr txBox="1"/>
          <p:nvPr/>
        </p:nvSpPr>
        <p:spPr>
          <a:xfrm>
            <a:off x="172023" y="2322741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       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  <a:endParaRPr lang="en-US" dirty="0">
              <a:latin typeface="Monaco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4099A5B-AF49-8F86-6429-42FD4F6F0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3239" y="1384560"/>
            <a:ext cx="6428761" cy="4199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95964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EBBA86-CD8B-A51A-80CF-293AC347A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7FCCDAF-F2F0-BFA1-B4DA-DE6C0B3AD4D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E65DA9F-CF87-B133-4E26-B47DBDF91901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FBC2B26-554D-8AD4-11FF-88505832A8BF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CB85B19-EA37-77CA-9896-128E595E13E8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0AAC15B-DC25-B038-4B3A-4DDA85318962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C5277EE-12E4-2061-71DD-3F5AB6C121E9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C21443-8699-5420-9144-7AB6398F5CC6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25B665-073A-8C77-41BA-93B0F5A615A9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FB10E0-4EF3-EC10-5ED4-881CFAE59A8D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BF5D65-1410-CA83-8694-A4071546673C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DAEF1E2-D08E-4B5B-3D85-AA7DAE745CE7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5F1104-679F-A32B-F24E-BF84CE894494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A9E92988-BD3E-B1BA-40DA-EC508D6B035C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959975B-CE2B-01AB-4C91-69731CBC87A6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466296-A412-E96E-35E9-83C23D26142B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CD8DA0D7-30D9-CA45-8481-D0E9B3BEC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74F05E1-7C80-C2A5-9545-AA71B979EB9A}"/>
              </a:ext>
            </a:extLst>
          </p:cNvPr>
          <p:cNvSpPr/>
          <p:nvPr/>
        </p:nvSpPr>
        <p:spPr>
          <a:xfrm>
            <a:off x="8450" y="2072640"/>
            <a:ext cx="2551870" cy="2575560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27137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20477-68A6-4395-5CE7-FD06B2189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150F99-9B38-2E89-44EE-2DF009A662C5}"/>
              </a:ext>
            </a:extLst>
          </p:cNvPr>
          <p:cNvSpPr txBox="1"/>
          <p:nvPr/>
        </p:nvSpPr>
        <p:spPr>
          <a:xfrm>
            <a:off x="327869" y="562722"/>
            <a:ext cx="5667737" cy="1129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102F345-8406-98E5-DE3B-E30B9ED1E317}"/>
              </a:ext>
            </a:extLst>
          </p:cNvPr>
          <p:cNvSpPr/>
          <p:nvPr/>
        </p:nvSpPr>
        <p:spPr>
          <a:xfrm>
            <a:off x="6992815" y="1691749"/>
            <a:ext cx="2278743" cy="458411"/>
          </a:xfrm>
          <a:prstGeom prst="roundRect">
            <a:avLst>
              <a:gd name="adj" fmla="val 32498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737F61-2261-E579-2BC7-60C9546E3B25}"/>
              </a:ext>
            </a:extLst>
          </p:cNvPr>
          <p:cNvSpPr txBox="1"/>
          <p:nvPr/>
        </p:nvSpPr>
        <p:spPr>
          <a:xfrm>
            <a:off x="6196396" y="562721"/>
            <a:ext cx="5831481" cy="148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FE6D2AC-5CB2-EA06-16EB-970BD4BEF7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714730" y="2220500"/>
            <a:ext cx="5140946" cy="43538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244AE2F-7DBE-382E-38B5-C6DE222462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866"/>
          <a:stretch/>
        </p:blipFill>
        <p:spPr>
          <a:xfrm>
            <a:off x="6541663" y="2220500"/>
            <a:ext cx="5140946" cy="435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1229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48087-26A6-0107-E573-3A0970682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D155477-2403-04E1-345C-D44FF13A31EF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C0950D-C71E-23BA-C03B-B773B4056B9F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7DBDDF4B-A21E-1493-BAED-51AF0C4A2BC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838BEE7-C798-34F4-1DEB-44884C551912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CBC0DF86-6BFD-2B9F-A2B9-3078FA8233F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6D5BED5-1645-A48A-93C0-8F5A52D5C31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CBE434-5245-76E2-F74B-F17ED5D6EAAC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8CEB55A-B97B-ED72-1F89-85DF1E082BF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084E22-C832-CD88-3F3D-A038F9EC72CF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983C2A-CEB8-A3E7-7122-589D367E6D28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9A4202-C22A-F7D4-8B29-B79D3290ACB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C1EB8D-C068-A792-6729-B082D576D72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2FA5255-49B2-6FFC-0903-11EF7333913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1D618F-29B3-B71C-5A2C-9ED55FD32C5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A409E8-3C7B-C4D5-785D-44E46AEAE408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DBA75133-8E78-405C-0DAB-976DBC992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174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4400566-F925-ED3F-1BD4-50A8A4836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88" y="947542"/>
            <a:ext cx="11745824" cy="496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91812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77E77-8990-84DE-4D83-7953176BA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5951A58-6372-947F-68F4-B46309584CA3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4F61307-6089-D617-53DD-E6A4F6F81320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61CD8771-5193-B776-688E-08E9B0A420F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A8BE6A6-45AC-F8EE-CE21-4550BD403E2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B10C735-DC7C-4A5F-0C0E-15E1BE14132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B8AE87D-E6DC-58B0-B3FE-0FDDB61B1A57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4CE19B5-02AA-6D4D-A9A7-6B930FFE0DF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528FB1-A288-6D90-05F1-98AFC9C35C36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5B0090-E2C2-5BC3-F04B-55E0D497F618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DC0F8B-39B7-5E0C-D93D-43CF3F0824E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1AD2E8-C943-1DBA-757C-CB516716F2CD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4F20A0-7099-1D60-246E-810030F85A5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EF054F5D-A406-134A-736D-D72A02DF6A7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11E366-6515-7F33-1633-E7A961AE9DC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0F63E3-FD37-C436-DCDF-B9F2D36A633D}"/>
              </a:ext>
            </a:extLst>
          </p:cNvPr>
          <p:cNvSpPr txBox="1"/>
          <p:nvPr/>
        </p:nvSpPr>
        <p:spPr>
          <a:xfrm>
            <a:off x="403796" y="347463"/>
            <a:ext cx="55991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60 pre-existing them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808E3B-560E-5137-398D-7A3D88851C14}"/>
              </a:ext>
            </a:extLst>
          </p:cNvPr>
          <p:cNvSpPr txBox="1"/>
          <p:nvPr/>
        </p:nvSpPr>
        <p:spPr>
          <a:xfrm>
            <a:off x="1214754" y="6169613"/>
            <a:ext cx="5787295" cy="523220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lang="en-US" sz="2800" dirty="0"/>
              <a:t>https://r-</a:t>
            </a:r>
            <a:r>
              <a:rPr lang="en-US" sz="2800" dirty="0" err="1"/>
              <a:t>charts.com</a:t>
            </a:r>
            <a:r>
              <a:rPr lang="en-US" sz="2800" dirty="0"/>
              <a:t>/ggplot2/themes/</a:t>
            </a:r>
          </a:p>
        </p:txBody>
      </p:sp>
      <p:pic>
        <p:nvPicPr>
          <p:cNvPr id="15" name="Picture 1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EB2DA4D-A6FF-498B-7CE9-BDC67325A2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397" y="1134101"/>
            <a:ext cx="2320978" cy="2294900"/>
          </a:xfrm>
          <a:prstGeom prst="rect">
            <a:avLst/>
          </a:prstGeom>
          <a:ln>
            <a:noFill/>
          </a:ln>
        </p:spPr>
      </p:pic>
      <p:pic>
        <p:nvPicPr>
          <p:cNvPr id="23" name="Picture 22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7786F9BB-8EF0-C24D-BD1B-8F0FB25A5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395" y="3753974"/>
            <a:ext cx="2149944" cy="2156035"/>
          </a:xfrm>
          <a:prstGeom prst="rect">
            <a:avLst/>
          </a:prstGeom>
          <a:ln>
            <a:noFill/>
          </a:ln>
        </p:spPr>
      </p:pic>
      <p:pic>
        <p:nvPicPr>
          <p:cNvPr id="25" name="Picture 24" descr="A graph with different colored lines&#10;&#10;Description automatically generated">
            <a:extLst>
              <a:ext uri="{FF2B5EF4-FFF2-40B4-BE49-F238E27FC236}">
                <a16:creationId xmlns:a16="http://schemas.microsoft.com/office/drawing/2014/main" id="{0098451D-6F27-9120-D37E-4278A0ED34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0443" y="3753974"/>
            <a:ext cx="2213338" cy="2156035"/>
          </a:xfrm>
          <a:prstGeom prst="rect">
            <a:avLst/>
          </a:prstGeom>
          <a:ln>
            <a:noFill/>
          </a:ln>
        </p:spPr>
      </p:pic>
      <p:pic>
        <p:nvPicPr>
          <p:cNvPr id="27" name="Picture 2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301F5335-824D-28E0-10D9-7DFED99561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86"/>
          <a:stretch/>
        </p:blipFill>
        <p:spPr>
          <a:xfrm>
            <a:off x="2760443" y="1156419"/>
            <a:ext cx="2213338" cy="2323407"/>
          </a:xfrm>
          <a:prstGeom prst="rect">
            <a:avLst/>
          </a:prstGeom>
          <a:ln>
            <a:noFill/>
          </a:ln>
        </p:spPr>
      </p:pic>
      <p:pic>
        <p:nvPicPr>
          <p:cNvPr id="29" name="Picture 28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D98C016-34A2-7491-141A-653835914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605" y="1156419"/>
            <a:ext cx="2316844" cy="2323407"/>
          </a:xfrm>
          <a:prstGeom prst="rect">
            <a:avLst/>
          </a:prstGeom>
          <a:ln>
            <a:noFill/>
          </a:ln>
        </p:spPr>
      </p:pic>
      <p:pic>
        <p:nvPicPr>
          <p:cNvPr id="31" name="Picture 30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56FCA257-D4D3-0DB2-B99D-2E3CD3BDBD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605" y="3739430"/>
            <a:ext cx="2316844" cy="217057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20580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335DA861-1447-DEEE-A9E6-EE05BB207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080" y="837711"/>
            <a:ext cx="3467100" cy="5499100"/>
          </a:xfrm>
          <a:prstGeom prst="rect">
            <a:avLst/>
          </a:prstGeom>
        </p:spPr>
      </p:pic>
      <p:pic>
        <p:nvPicPr>
          <p:cNvPr id="5" name="Picture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5D6A6B4E-D7F5-9AE8-5776-3FFBD8AE9E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0578" y="1107830"/>
            <a:ext cx="2671440" cy="5228981"/>
          </a:xfrm>
          <a:prstGeom prst="rect">
            <a:avLst/>
          </a:prstGeom>
        </p:spPr>
      </p:pic>
      <p:pic>
        <p:nvPicPr>
          <p:cNvPr id="7" name="Picture 6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19DDA5CF-CD43-23FE-018A-3E04D50811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8800" y="1125414"/>
            <a:ext cx="2309036" cy="5228982"/>
          </a:xfrm>
          <a:prstGeom prst="rect">
            <a:avLst/>
          </a:prstGeom>
        </p:spPr>
      </p:pic>
      <p:pic>
        <p:nvPicPr>
          <p:cNvPr id="9" name="Picture 8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C0719D7D-5546-9AB9-F313-9EB10B6CD6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62058" y="1125414"/>
            <a:ext cx="2377726" cy="52289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055E64-1C9F-8EEE-9CAC-47F893D989B4}"/>
              </a:ext>
            </a:extLst>
          </p:cNvPr>
          <p:cNvSpPr txBox="1"/>
          <p:nvPr/>
        </p:nvSpPr>
        <p:spPr>
          <a:xfrm>
            <a:off x="441080" y="175846"/>
            <a:ext cx="38847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?theme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C8712D-402A-BE34-D37C-39C265D50A05}"/>
              </a:ext>
            </a:extLst>
          </p:cNvPr>
          <p:cNvSpPr txBox="1"/>
          <p:nvPr/>
        </p:nvSpPr>
        <p:spPr>
          <a:xfrm>
            <a:off x="10592681" y="6062008"/>
            <a:ext cx="971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1326238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8B27A2-22E9-D9E9-70EC-E72B3A9E4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3F4F3DF-4F96-EBEC-F093-51928D671B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16B04CB-E362-A188-6F59-C3BFE57F671F}"/>
              </a:ext>
            </a:extLst>
          </p:cNvPr>
          <p:cNvSpPr txBox="1"/>
          <p:nvPr/>
        </p:nvSpPr>
        <p:spPr>
          <a:xfrm>
            <a:off x="264519" y="527551"/>
            <a:ext cx="6025098" cy="2029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b="1" dirty="0" err="1">
                <a:latin typeface="Monaco" pitchFamily="2" charset="77"/>
              </a:rPr>
              <a:t>theme_minimal</a:t>
            </a:r>
            <a:r>
              <a:rPr lang="en-US" sz="1600" b="1" dirty="0">
                <a:latin typeface="Monaco" pitchFamily="2" charset="77"/>
              </a:rPr>
              <a:t>()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78379958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83B703-8319-F8CD-D10C-07D9E2F672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0A552F4-D446-2E4F-1B94-9EF24C02942B}"/>
              </a:ext>
            </a:extLst>
          </p:cNvPr>
          <p:cNvSpPr txBox="1"/>
          <p:nvPr/>
        </p:nvSpPr>
        <p:spPr>
          <a:xfrm>
            <a:off x="264519" y="527551"/>
            <a:ext cx="6025098" cy="2427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b="1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b="1" dirty="0">
                <a:latin typeface="Monaco" pitchFamily="2" charset="77"/>
              </a:rPr>
              <a:t>theme(</a:t>
            </a:r>
            <a:r>
              <a:rPr lang="en-US" sz="1600" dirty="0" err="1">
                <a:latin typeface="Monaco" pitchFamily="2" charset="77"/>
              </a:rPr>
              <a:t>axis.line.x.bottom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,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              </a:t>
            </a:r>
            <a:r>
              <a:rPr lang="en-US" sz="1600" dirty="0" err="1">
                <a:latin typeface="Monaco" pitchFamily="2" charset="77"/>
              </a:rPr>
              <a:t>axis.line.y.left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F18248-FCB8-7A7B-0B20-59395B4736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857F8C1-518D-1980-E6EA-D1D9A19A64CD}"/>
              </a:ext>
            </a:extLst>
          </p:cNvPr>
          <p:cNvSpPr/>
          <p:nvPr/>
        </p:nvSpPr>
        <p:spPr>
          <a:xfrm>
            <a:off x="1072662" y="2198077"/>
            <a:ext cx="5140946" cy="931985"/>
          </a:xfrm>
          <a:prstGeom prst="roundRect">
            <a:avLst/>
          </a:prstGeom>
          <a:noFill/>
          <a:ln w="19050">
            <a:solidFill>
              <a:schemeClr val="accent1">
                <a:shade val="15000"/>
                <a:alpha val="80724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904177-8B5C-33EF-0CF2-80BD4F9096A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r="19116"/>
          <a:stretch/>
        </p:blipFill>
        <p:spPr>
          <a:xfrm>
            <a:off x="6365626" y="1411607"/>
            <a:ext cx="4923697" cy="422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7969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9" y="43438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17" y="357872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94" y="278423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52" y="212025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13" y="144241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50" y="7409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30" y="117655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30" y="186476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30" y="25500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30" y="321011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30" y="400399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30" y="478682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47172FD9-066A-7BE9-B793-BC5DF5F071BC}"/>
              </a:ext>
            </a:extLst>
          </p:cNvPr>
          <p:cNvSpPr/>
          <p:nvPr/>
        </p:nvSpPr>
        <p:spPr>
          <a:xfrm rot="1070933" flipH="1">
            <a:off x="9522334" y="5507316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8828D9-5666-93BF-478B-E6414016C849}"/>
              </a:ext>
            </a:extLst>
          </p:cNvPr>
          <p:cNvSpPr txBox="1"/>
          <p:nvPr/>
        </p:nvSpPr>
        <p:spPr>
          <a:xfrm>
            <a:off x="7911178" y="564694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Exporting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A7B291E-C911-032B-EE54-F880560CD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112" y="1808241"/>
            <a:ext cx="5080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08BA2A-A66D-1913-852A-08C410A85D6C}"/>
              </a:ext>
            </a:extLst>
          </p:cNvPr>
          <p:cNvSpPr txBox="1"/>
          <p:nvPr/>
        </p:nvSpPr>
        <p:spPr>
          <a:xfrm>
            <a:off x="5979175" y="4677409"/>
            <a:ext cx="621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94996"/>
                </a:solidFill>
              </a:rPr>
              <a:t>.pdf</a:t>
            </a:r>
          </a:p>
        </p:txBody>
      </p:sp>
    </p:spTree>
    <p:extLst>
      <p:ext uri="{BB962C8B-B14F-4D97-AF65-F5344CB8AC3E}">
        <p14:creationId xmlns:p14="http://schemas.microsoft.com/office/powerpoint/2010/main" val="36861857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A4F0ED2C-EC24-D518-6164-E6D4B69FF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239" y="294833"/>
            <a:ext cx="8825345" cy="626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5857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549D4B-2348-7C16-002F-29570FD90468}"/>
              </a:ext>
            </a:extLst>
          </p:cNvPr>
          <p:cNvSpPr txBox="1"/>
          <p:nvPr/>
        </p:nvSpPr>
        <p:spPr>
          <a:xfrm>
            <a:off x="4203986" y="1570011"/>
            <a:ext cx="3219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Lets give it a t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3F819F-3B67-B70B-5BE5-0E06771456B7}"/>
              </a:ext>
            </a:extLst>
          </p:cNvPr>
          <p:cNvSpPr txBox="1"/>
          <p:nvPr/>
        </p:nvSpPr>
        <p:spPr>
          <a:xfrm>
            <a:off x="2479729" y="2822291"/>
            <a:ext cx="78615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</a:rPr>
              <a:t>https://</a:t>
            </a:r>
            <a:r>
              <a:rPr lang="en-US" sz="4000" dirty="0" err="1">
                <a:solidFill>
                  <a:schemeClr val="accent2">
                    <a:lumMod val="75000"/>
                  </a:schemeClr>
                </a:solidFill>
              </a:rPr>
              <a:t>tinyurl.com</a:t>
            </a:r>
            <a:r>
              <a:rPr lang="en-US" sz="4000" dirty="0">
                <a:solidFill>
                  <a:schemeClr val="accent2">
                    <a:lumMod val="75000"/>
                  </a:schemeClr>
                </a:solidFill>
              </a:rPr>
              <a:t>/ggplot2mids</a:t>
            </a:r>
          </a:p>
        </p:txBody>
      </p:sp>
    </p:spTree>
    <p:extLst>
      <p:ext uri="{BB962C8B-B14F-4D97-AF65-F5344CB8AC3E}">
        <p14:creationId xmlns:p14="http://schemas.microsoft.com/office/powerpoint/2010/main" val="38947135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1216B85-037D-C8B7-AD1D-BF065C5B29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1355"/>
          <a:stretch/>
        </p:blipFill>
        <p:spPr>
          <a:xfrm>
            <a:off x="978569" y="218810"/>
            <a:ext cx="9413940" cy="6420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820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B0FFEDA0-AA78-42CF-B327-0DBFCCB62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0"/>
            <a:ext cx="11430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34282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582" y="0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699456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556</TotalTime>
  <Words>2212</Words>
  <Application>Microsoft Macintosh PowerPoint</Application>
  <PresentationFormat>Widescreen</PresentationFormat>
  <Paragraphs>520</Paragraphs>
  <Slides>77</Slides>
  <Notes>21</Notes>
  <HiddenSlides>6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7</vt:i4>
      </vt:variant>
    </vt:vector>
  </HeadingPairs>
  <TitlesOfParts>
    <vt:vector size="89" baseType="lpstr">
      <vt:lpstr>Andale Mono</vt:lpstr>
      <vt:lpstr>Arial</vt:lpstr>
      <vt:lpstr>Calibri</vt:lpstr>
      <vt:lpstr>Calibri Light</vt:lpstr>
      <vt:lpstr>Helvetica</vt:lpstr>
      <vt:lpstr>Lucida Console</vt:lpstr>
      <vt:lpstr>Monaco</vt:lpstr>
      <vt:lpstr>Source Sans Pro</vt:lpstr>
      <vt:lpstr>SourceSansPro</vt:lpstr>
      <vt:lpstr>Wingdings</vt:lpstr>
      <vt:lpstr>Office Theme</vt:lpstr>
      <vt:lpstr>think-cell Slide</vt:lpstr>
      <vt:lpstr>PowerPoint Presentation</vt:lpstr>
      <vt:lpstr>PowerPoint Presentation</vt:lpstr>
      <vt:lpstr>Center for Data &amp; Visualization Sciences (CDV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gplot2 default colors for fac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 Nichols (she/her/hers)</dc:creator>
  <cp:lastModifiedBy>Lauren Nichols (she/her/hers)</cp:lastModifiedBy>
  <cp:revision>22</cp:revision>
  <cp:lastPrinted>2023-08-24T18:51:06Z</cp:lastPrinted>
  <dcterms:created xsi:type="dcterms:W3CDTF">2023-08-24T18:44:09Z</dcterms:created>
  <dcterms:modified xsi:type="dcterms:W3CDTF">2025-09-25T13:29:58Z</dcterms:modified>
</cp:coreProperties>
</file>